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7.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48.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49.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50.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51.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52.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53.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54.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55.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56.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57.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58.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59.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60.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61.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62.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63.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64.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tags/tag65.xml" ContentType="application/vnd.openxmlformats-officedocument.presentationml.tags+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66.xml" ContentType="application/vnd.openxmlformats-officedocument.presentationml.tags+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tags/tag67.xml" ContentType="application/vnd.openxmlformats-officedocument.presentationml.tags+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68.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69.xml" ContentType="application/vnd.openxmlformats-officedocument.presentationml.tags+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tags/tag70.xml" ContentType="application/vnd.openxmlformats-officedocument.presentationml.tags+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tags/tag71.xml" ContentType="application/vnd.openxmlformats-officedocument.presentationml.tags+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7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tags/tag73.xml" ContentType="application/vnd.openxmlformats-officedocument.presentationml.tags+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7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75.xml" ContentType="application/vnd.openxmlformats-officedocument.presentationml.tags+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tags/tag76.xml" ContentType="application/vnd.openxmlformats-officedocument.presentationml.tags+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tags/tag77.xml" ContentType="application/vnd.openxmlformats-officedocument.presentationml.tags+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78.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9.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tags/tag80.xml" ContentType="application/vnd.openxmlformats-officedocument.presentationml.tags+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tags/tag81.xml" ContentType="application/vnd.openxmlformats-officedocument.presentationml.tags+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tags/tag82.xml" ContentType="application/vnd.openxmlformats-officedocument.presentationml.tags+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83.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tags/tag84.xml" ContentType="application/vnd.openxmlformats-officedocument.presentationml.tags+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tags/tag85.xml" ContentType="application/vnd.openxmlformats-officedocument.presentationml.tags+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86.xml" ContentType="application/vnd.openxmlformats-officedocument.presentationml.tags+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7.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8.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tags/tag89.xml" ContentType="application/vnd.openxmlformats-officedocument.presentationml.tags+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tags/tag90.xml" ContentType="application/vnd.openxmlformats-officedocument.presentationml.tags+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tags/tag91.xml" ContentType="application/vnd.openxmlformats-officedocument.presentationml.tags+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92.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tags/tag93.xml" ContentType="application/vnd.openxmlformats-officedocument.presentationml.tags+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tags/tag94.xml" ContentType="application/vnd.openxmlformats-officedocument.presentationml.tags+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tags/tag95.xml" ContentType="application/vnd.openxmlformats-officedocument.presentationml.tags+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6.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7.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tags/tag98.xml" ContentType="application/vnd.openxmlformats-officedocument.presentationml.tags+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99.xml" ContentType="application/vnd.openxmlformats-officedocument.presentationml.tags+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tags/tag100.xml" ContentType="application/vnd.openxmlformats-officedocument.presentationml.tags+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101.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tags/tag102.xml" ContentType="application/vnd.openxmlformats-officedocument.presentationml.tags+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tags/tag103.xml" ContentType="application/vnd.openxmlformats-officedocument.presentationml.tags+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tags/tag104.xml" ContentType="application/vnd.openxmlformats-officedocument.presentationml.tags+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5.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6.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tags/tag107.xml" ContentType="application/vnd.openxmlformats-officedocument.presentationml.tags+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tags/tag108.xml" ContentType="application/vnd.openxmlformats-officedocument.presentationml.tags+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tags/tag109.xml" ContentType="application/vnd.openxmlformats-officedocument.presentationml.tags+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10.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tags/tag111.xml" ContentType="application/vnd.openxmlformats-officedocument.presentationml.tags+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tags/tag112.xml" ContentType="application/vnd.openxmlformats-officedocument.presentationml.tags+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tags/tag113.xml" ContentType="application/vnd.openxmlformats-officedocument.presentationml.tags+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4.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5.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tags/tag116.xml" ContentType="application/vnd.openxmlformats-officedocument.presentationml.tags+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tags/tag117.xml" ContentType="application/vnd.openxmlformats-officedocument.presentationml.tags+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tags/tag118.xml" ContentType="application/vnd.openxmlformats-officedocument.presentationml.tags+xml"/>
  <Override PartName="/ppt/charts/chart270.xml" ContentType="application/vnd.openxmlformats-officedocument.drawingml.chart+xml"/>
  <Override PartName="/ppt/tags/tag119.xml" ContentType="application/vnd.openxmlformats-officedocument.presentationml.tags+xml"/>
  <Override PartName="/ppt/charts/chart271.xml" ContentType="application/vnd.openxmlformats-officedocument.drawingml.chart+xml"/>
  <Override PartName="/ppt/tags/tag120.xml" ContentType="application/vnd.openxmlformats-officedocument.presentationml.tags+xml"/>
  <Override PartName="/ppt/charts/chart272.xml" ContentType="application/vnd.openxmlformats-officedocument.drawingml.chart+xml"/>
  <Override PartName="/ppt/tags/tag121.xml" ContentType="application/vnd.openxmlformats-officedocument.presentationml.tags+xml"/>
  <Override PartName="/ppt/charts/chart273.xml" ContentType="application/vnd.openxmlformats-officedocument.drawingml.chart+xml"/>
  <Override PartName="/ppt/tags/tag122.xml" ContentType="application/vnd.openxmlformats-officedocument.presentationml.tags+xml"/>
  <Override PartName="/ppt/charts/chart274.xml" ContentType="application/vnd.openxmlformats-officedocument.drawingml.chart+xml"/>
  <Override PartName="/ppt/tags/tag123.xml" ContentType="application/vnd.openxmlformats-officedocument.presentationml.tags+xml"/>
  <Override PartName="/ppt/charts/chart275.xml" ContentType="application/vnd.openxmlformats-officedocument.drawingml.chart+xml"/>
  <Override PartName="/ppt/tags/tag124.xml" ContentType="application/vnd.openxmlformats-officedocument.presentationml.tags+xml"/>
  <Override PartName="/ppt/charts/chart276.xml" ContentType="application/vnd.openxmlformats-officedocument.drawingml.chart+xml"/>
  <Override PartName="/ppt/tags/tag125.xml" ContentType="application/vnd.openxmlformats-officedocument.presentationml.tags+xml"/>
  <Override PartName="/ppt/charts/chart277.xml" ContentType="application/vnd.openxmlformats-officedocument.drawingml.chart+xml"/>
  <Override PartName="/ppt/tags/tag126.xml" ContentType="application/vnd.openxmlformats-officedocument.presentationml.tags+xml"/>
  <Override PartName="/ppt/charts/chart278.xml" ContentType="application/vnd.openxmlformats-officedocument.drawingml.chart+xml"/>
  <Override PartName="/ppt/tags/tag127.xml" ContentType="application/vnd.openxmlformats-officedocument.presentationml.tags+xml"/>
  <Override PartName="/ppt/charts/chart279.xml" ContentType="application/vnd.openxmlformats-officedocument.drawingml.chart+xml"/>
  <Override PartName="/ppt/tags/tag128.xml" ContentType="application/vnd.openxmlformats-officedocument.presentationml.tags+xml"/>
  <Override PartName="/ppt/charts/chart280.xml" ContentType="application/vnd.openxmlformats-officedocument.drawingml.chart+xml"/>
  <Override PartName="/ppt/tags/tag129.xml" ContentType="application/vnd.openxmlformats-officedocument.presentationml.tags+xml"/>
  <Override PartName="/ppt/charts/chart281.xml" ContentType="application/vnd.openxmlformats-officedocument.drawingml.chart+xml"/>
  <Override PartName="/ppt/tags/tag130.xml" ContentType="application/vnd.openxmlformats-officedocument.presentationml.tags+xml"/>
  <Override PartName="/ppt/charts/chart282.xml" ContentType="application/vnd.openxmlformats-officedocument.drawingml.chart+xml"/>
  <Override PartName="/ppt/tags/tag131.xml" ContentType="application/vnd.openxmlformats-officedocument.presentationml.tags+xml"/>
  <Override PartName="/ppt/charts/chart283.xml" ContentType="application/vnd.openxmlformats-officedocument.drawingml.chart+xml"/>
  <Override PartName="/ppt/tags/tag132.xml" ContentType="application/vnd.openxmlformats-officedocument.presentationml.tags+xml"/>
  <Override PartName="/ppt/charts/chart284.xml" ContentType="application/vnd.openxmlformats-officedocument.drawingml.chart+xml"/>
  <Override PartName="/ppt/tags/tag133.xml" ContentType="application/vnd.openxmlformats-officedocument.presentationml.tags+xml"/>
  <Override PartName="/ppt/charts/chart285.xml" ContentType="application/vnd.openxmlformats-officedocument.drawingml.chart+xml"/>
  <Override PartName="/ppt/tags/tag134.xml" ContentType="application/vnd.openxmlformats-officedocument.presentationml.tags+xml"/>
  <Override PartName="/ppt/charts/chart286.xml" ContentType="application/vnd.openxmlformats-officedocument.drawingml.chart+xml"/>
  <Override PartName="/ppt/tags/tag135.xml" ContentType="application/vnd.openxmlformats-officedocument.presentationml.tags+xml"/>
  <Override PartName="/ppt/charts/chart287.xml" ContentType="application/vnd.openxmlformats-officedocument.drawingml.chart+xml"/>
  <Override PartName="/ppt/tags/tag136.xml" ContentType="application/vnd.openxmlformats-officedocument.presentationml.tags+xml"/>
  <Override PartName="/ppt/charts/chart288.xml" ContentType="application/vnd.openxmlformats-officedocument.drawingml.chart+xml"/>
  <Override PartName="/ppt/tags/tag137.xml" ContentType="application/vnd.openxmlformats-officedocument.presentationml.tags+xml"/>
  <Override PartName="/ppt/charts/chart289.xml" ContentType="application/vnd.openxmlformats-officedocument.drawingml.chart+xml"/>
  <Override PartName="/ppt/tags/tag138.xml" ContentType="application/vnd.openxmlformats-officedocument.presentationml.tags+xml"/>
  <Override PartName="/ppt/charts/chart290.xml" ContentType="application/vnd.openxmlformats-officedocument.drawingml.chart+xml"/>
  <Override PartName="/ppt/tags/tag139.xml" ContentType="application/vnd.openxmlformats-officedocument.presentationml.tags+xml"/>
  <Override PartName="/ppt/charts/chart291.xml" ContentType="application/vnd.openxmlformats-officedocument.drawingml.chart+xml"/>
  <Override PartName="/ppt/tags/tag140.xml" ContentType="application/vnd.openxmlformats-officedocument.presentationml.tags+xml"/>
  <Override PartName="/ppt/charts/chart292.xml" ContentType="application/vnd.openxmlformats-officedocument.drawingml.chart+xml"/>
  <Override PartName="/ppt/tags/tag141.xml" ContentType="application/vnd.openxmlformats-officedocument.presentationml.tags+xml"/>
  <Override PartName="/ppt/charts/chart293.xml" ContentType="application/vnd.openxmlformats-officedocument.drawingml.chart+xml"/>
  <Override PartName="/ppt/tags/tag142.xml" ContentType="application/vnd.openxmlformats-officedocument.presentationml.tags+xml"/>
  <Override PartName="/ppt/charts/chart294.xml" ContentType="application/vnd.openxmlformats-officedocument.drawingml.chart+xml"/>
  <Override PartName="/ppt/tags/tag143.xml" ContentType="application/vnd.openxmlformats-officedocument.presentationml.tags+xml"/>
  <Override PartName="/ppt/charts/chart295.xml" ContentType="application/vnd.openxmlformats-officedocument.drawingml.chart+xml"/>
  <Override PartName="/ppt/tags/tag144.xml" ContentType="application/vnd.openxmlformats-officedocument.presentationml.tags+xml"/>
  <Override PartName="/ppt/charts/chart296.xml" ContentType="application/vnd.openxmlformats-officedocument.drawingml.chart+xml"/>
  <Override PartName="/ppt/tags/tag145.xml" ContentType="application/vnd.openxmlformats-officedocument.presentationml.tags+xml"/>
  <Override PartName="/ppt/charts/chart297.xml" ContentType="application/vnd.openxmlformats-officedocument.drawingml.chart+xml"/>
  <Override PartName="/ppt/tags/tag146.xml" ContentType="application/vnd.openxmlformats-officedocument.presentationml.tags+xml"/>
  <Override PartName="/ppt/charts/chart298.xml" ContentType="application/vnd.openxmlformats-officedocument.drawingml.chart+xml"/>
  <Override PartName="/ppt/tags/tag147.xml" ContentType="application/vnd.openxmlformats-officedocument.presentationml.tags+xml"/>
  <Override PartName="/ppt/charts/chart299.xml" ContentType="application/vnd.openxmlformats-officedocument.drawingml.chart+xml"/>
  <Override PartName="/ppt/tags/tag148.xml" ContentType="application/vnd.openxmlformats-officedocument.presentationml.tags+xml"/>
  <Override PartName="/ppt/charts/chart300.xml" ContentType="application/vnd.openxmlformats-officedocument.drawingml.chart+xml"/>
  <Override PartName="/ppt/tags/tag149.xml" ContentType="application/vnd.openxmlformats-officedocument.presentationml.tags+xml"/>
  <Override PartName="/ppt/charts/chart301.xml" ContentType="application/vnd.openxmlformats-officedocument.drawingml.chart+xml"/>
  <Override PartName="/ppt/tags/tag150.xml" ContentType="application/vnd.openxmlformats-officedocument.presentationml.tags+xml"/>
  <Override PartName="/ppt/charts/chart302.xml" ContentType="application/vnd.openxmlformats-officedocument.drawingml.chart+xml"/>
  <Override PartName="/ppt/tags/tag151.xml" ContentType="application/vnd.openxmlformats-officedocument.presentationml.tags+xml"/>
  <Override PartName="/ppt/charts/chart303.xml" ContentType="application/vnd.openxmlformats-officedocument.drawingml.chart+xml"/>
  <Override PartName="/ppt/tags/tag152.xml" ContentType="application/vnd.openxmlformats-officedocument.presentationml.tags+xml"/>
  <Override PartName="/ppt/charts/chart304.xml" ContentType="application/vnd.openxmlformats-officedocument.drawingml.chart+xml"/>
  <Override PartName="/ppt/tags/tag153.xml" ContentType="application/vnd.openxmlformats-officedocument.presentationml.tags+xml"/>
  <Override PartName="/ppt/charts/chart305.xml" ContentType="application/vnd.openxmlformats-officedocument.drawingml.chart+xml"/>
  <Override PartName="/ppt/tags/tag154.xml" ContentType="application/vnd.openxmlformats-officedocument.presentationml.tags+xml"/>
  <Override PartName="/ppt/charts/chart306.xml" ContentType="application/vnd.openxmlformats-officedocument.drawingml.chart+xml"/>
  <Override PartName="/ppt/tags/tag155.xml" ContentType="application/vnd.openxmlformats-officedocument.presentationml.tags+xml"/>
  <Override PartName="/ppt/charts/chart307.xml" ContentType="application/vnd.openxmlformats-officedocument.drawingml.chart+xml"/>
  <Override PartName="/ppt/tags/tag156.xml" ContentType="application/vnd.openxmlformats-officedocument.presentationml.tags+xml"/>
  <Override PartName="/ppt/charts/chart308.xml" ContentType="application/vnd.openxmlformats-officedocument.drawingml.chart+xml"/>
  <Override PartName="/ppt/tags/tag157.xml" ContentType="application/vnd.openxmlformats-officedocument.presentationml.tags+xml"/>
  <Override PartName="/ppt/charts/chart309.xml" ContentType="application/vnd.openxmlformats-officedocument.drawingml.chart+xml"/>
  <Override PartName="/ppt/tags/tag158.xml" ContentType="application/vnd.openxmlformats-officedocument.presentationml.tags+xml"/>
  <Override PartName="/ppt/charts/chart310.xml" ContentType="application/vnd.openxmlformats-officedocument.drawingml.chart+xml"/>
  <Override PartName="/ppt/tags/tag159.xml" ContentType="application/vnd.openxmlformats-officedocument.presentationml.tags+xml"/>
  <Override PartName="/ppt/charts/chart311.xml" ContentType="application/vnd.openxmlformats-officedocument.drawingml.chart+xml"/>
  <Override PartName="/ppt/tags/tag160.xml" ContentType="application/vnd.openxmlformats-officedocument.presentationml.tags+xml"/>
  <Override PartName="/ppt/charts/chart312.xml" ContentType="application/vnd.openxmlformats-officedocument.drawingml.chart+xml"/>
  <Override PartName="/ppt/tags/tag161.xml" ContentType="application/vnd.openxmlformats-officedocument.presentationml.tags+xml"/>
  <Override PartName="/ppt/charts/chart313.xml" ContentType="application/vnd.openxmlformats-officedocument.drawingml.chart+xml"/>
  <Override PartName="/ppt/tags/tag162.xml" ContentType="application/vnd.openxmlformats-officedocument.presentationml.tags+xml"/>
  <Override PartName="/ppt/charts/chart314.xml" ContentType="application/vnd.openxmlformats-officedocument.drawingml.chart+xml"/>
  <Override PartName="/ppt/tags/tag163.xml" ContentType="application/vnd.openxmlformats-officedocument.presentationml.tags+xml"/>
  <Override PartName="/ppt/charts/chart315.xml" ContentType="application/vnd.openxmlformats-officedocument.drawingml.chart+xml"/>
  <Override PartName="/ppt/tags/tag164.xml" ContentType="application/vnd.openxmlformats-officedocument.presentationml.tags+xml"/>
  <Override PartName="/ppt/charts/chart316.xml" ContentType="application/vnd.openxmlformats-officedocument.drawingml.chart+xml"/>
  <Override PartName="/ppt/tags/tag165.xml" ContentType="application/vnd.openxmlformats-officedocument.presentationml.tags+xml"/>
  <Override PartName="/ppt/charts/chart317.xml" ContentType="application/vnd.openxmlformats-officedocument.drawingml.chart+xml"/>
  <Override PartName="/ppt/tags/tag166.xml" ContentType="application/vnd.openxmlformats-officedocument.presentationml.tags+xml"/>
  <Override PartName="/ppt/charts/chart318.xml" ContentType="application/vnd.openxmlformats-officedocument.drawingml.chart+xml"/>
  <Override PartName="/ppt/tags/tag167.xml" ContentType="application/vnd.openxmlformats-officedocument.presentationml.tags+xml"/>
  <Override PartName="/ppt/charts/chart319.xml" ContentType="application/vnd.openxmlformats-officedocument.drawingml.chart+xml"/>
  <Override PartName="/ppt/tags/tag168.xml" ContentType="application/vnd.openxmlformats-officedocument.presentationml.tags+xml"/>
  <Override PartName="/ppt/charts/chart320.xml" ContentType="application/vnd.openxmlformats-officedocument.drawingml.chart+xml"/>
  <Override PartName="/ppt/tags/tag169.xml" ContentType="application/vnd.openxmlformats-officedocument.presentationml.tags+xml"/>
  <Override PartName="/ppt/charts/chart321.xml" ContentType="application/vnd.openxmlformats-officedocument.drawingml.chart+xml"/>
  <Override PartName="/ppt/tags/tag170.xml" ContentType="application/vnd.openxmlformats-officedocument.presentationml.tags+xml"/>
  <Override PartName="/ppt/charts/chart322.xml" ContentType="application/vnd.openxmlformats-officedocument.drawingml.chart+xml"/>
  <Override PartName="/ppt/tags/tag171.xml" ContentType="application/vnd.openxmlformats-officedocument.presentationml.tags+xml"/>
  <Override PartName="/ppt/charts/chart323.xml" ContentType="application/vnd.openxmlformats-officedocument.drawingml.chart+xml"/>
  <Override PartName="/ppt/tags/tag172.xml" ContentType="application/vnd.openxmlformats-officedocument.presentationml.tags+xml"/>
  <Override PartName="/ppt/charts/chart324.xml" ContentType="application/vnd.openxmlformats-officedocument.drawingml.chart+xml"/>
  <Override PartName="/ppt/tags/tag173.xml" ContentType="application/vnd.openxmlformats-officedocument.presentationml.tags+xml"/>
  <Override PartName="/ppt/charts/chart325.xml" ContentType="application/vnd.openxmlformats-officedocument.drawingml.chart+xml"/>
  <Override PartName="/ppt/tags/tag174.xml" ContentType="application/vnd.openxmlformats-officedocument.presentationml.tags+xml"/>
  <Override PartName="/ppt/charts/chart326.xml" ContentType="application/vnd.openxmlformats-officedocument.drawingml.chart+xml"/>
  <Override PartName="/ppt/tags/tag175.xml" ContentType="application/vnd.openxmlformats-officedocument.presentationml.tags+xml"/>
  <Override PartName="/ppt/charts/chart327.xml" ContentType="application/vnd.openxmlformats-officedocument.drawingml.chart+xml"/>
  <Override PartName="/ppt/tags/tag176.xml" ContentType="application/vnd.openxmlformats-officedocument.presentationml.tags+xml"/>
  <Override PartName="/ppt/charts/chart328.xml" ContentType="application/vnd.openxmlformats-officedocument.drawingml.chart+xml"/>
  <Override PartName="/ppt/tags/tag177.xml" ContentType="application/vnd.openxmlformats-officedocument.presentationml.tags+xml"/>
  <Override PartName="/ppt/charts/chart329.xml" ContentType="application/vnd.openxmlformats-officedocument.drawingml.chart+xml"/>
  <Override PartName="/ppt/tags/tag178.xml" ContentType="application/vnd.openxmlformats-officedocument.presentationml.tags+xml"/>
  <Override PartName="/ppt/charts/chart330.xml" ContentType="application/vnd.openxmlformats-officedocument.drawingml.chart+xml"/>
  <Override PartName="/ppt/tags/tag179.xml" ContentType="application/vnd.openxmlformats-officedocument.presentationml.tags+xml"/>
  <Override PartName="/ppt/charts/chart331.xml" ContentType="application/vnd.openxmlformats-officedocument.drawingml.chart+xml"/>
  <Override PartName="/ppt/tags/tag180.xml" ContentType="application/vnd.openxmlformats-officedocument.presentationml.tags+xml"/>
  <Override PartName="/ppt/charts/chart332.xml" ContentType="application/vnd.openxmlformats-officedocument.drawingml.chart+xml"/>
  <Override PartName="/ppt/tags/tag181.xml" ContentType="application/vnd.openxmlformats-officedocument.presentationml.tags+xml"/>
  <Override PartName="/ppt/charts/chart333.xml" ContentType="application/vnd.openxmlformats-officedocument.drawingml.chart+xml"/>
  <Override PartName="/ppt/tags/tag182.xml" ContentType="application/vnd.openxmlformats-officedocument.presentationml.tags+xml"/>
  <Override PartName="/ppt/charts/chart334.xml" ContentType="application/vnd.openxmlformats-officedocument.drawingml.chart+xml"/>
  <Override PartName="/ppt/tags/tag183.xml" ContentType="application/vnd.openxmlformats-officedocument.presentationml.tags+xml"/>
  <Override PartName="/ppt/charts/chart335.xml" ContentType="application/vnd.openxmlformats-officedocument.drawingml.chart+xml"/>
  <Override PartName="/ppt/tags/tag184.xml" ContentType="application/vnd.openxmlformats-officedocument.presentationml.tags+xml"/>
  <Override PartName="/ppt/charts/chart336.xml" ContentType="application/vnd.openxmlformats-officedocument.drawingml.chart+xml"/>
  <Override PartName="/ppt/tags/tag185.xml" ContentType="application/vnd.openxmlformats-officedocument.presentationml.tags+xml"/>
  <Override PartName="/ppt/charts/chart337.xml" ContentType="application/vnd.openxmlformats-officedocument.drawingml.chart+xml"/>
  <Override PartName="/ppt/tags/tag186.xml" ContentType="application/vnd.openxmlformats-officedocument.presentationml.tags+xml"/>
  <Override PartName="/ppt/charts/chart338.xml" ContentType="application/vnd.openxmlformats-officedocument.drawingml.chart+xml"/>
  <Override PartName="/ppt/tags/tag187.xml" ContentType="application/vnd.openxmlformats-officedocument.presentationml.tags+xml"/>
  <Override PartName="/ppt/charts/chart339.xml" ContentType="application/vnd.openxmlformats-officedocument.drawingml.chart+xml"/>
  <Override PartName="/ppt/tags/tag188.xml" ContentType="application/vnd.openxmlformats-officedocument.presentationml.tags+xml"/>
  <Override PartName="/ppt/charts/chart340.xml" ContentType="application/vnd.openxmlformats-officedocument.drawingml.chart+xml"/>
  <Override PartName="/ppt/tags/tag189.xml" ContentType="application/vnd.openxmlformats-officedocument.presentationml.tags+xml"/>
  <Override PartName="/ppt/charts/chart341.xml" ContentType="application/vnd.openxmlformats-officedocument.drawingml.chart+xml"/>
  <Override PartName="/ppt/tags/tag190.xml" ContentType="application/vnd.openxmlformats-officedocument.presentationml.tags+xml"/>
  <Override PartName="/ppt/charts/chart342.xml" ContentType="application/vnd.openxmlformats-officedocument.drawingml.chart+xml"/>
  <Override PartName="/ppt/tags/tag191.xml" ContentType="application/vnd.openxmlformats-officedocument.presentationml.tags+xml"/>
  <Override PartName="/ppt/charts/chart343.xml" ContentType="application/vnd.openxmlformats-officedocument.drawingml.chart+xml"/>
  <Override PartName="/ppt/tags/tag192.xml" ContentType="application/vnd.openxmlformats-officedocument.presentationml.tags+xml"/>
  <Override PartName="/ppt/charts/chart344.xml" ContentType="application/vnd.openxmlformats-officedocument.drawingml.chart+xml"/>
  <Override PartName="/ppt/tags/tag193.xml" ContentType="application/vnd.openxmlformats-officedocument.presentationml.tags+xml"/>
  <Override PartName="/ppt/charts/chart345.xml" ContentType="application/vnd.openxmlformats-officedocument.drawingml.chart+xml"/>
  <Override PartName="/ppt/tags/tag194.xml" ContentType="application/vnd.openxmlformats-officedocument.presentationml.tags+xml"/>
  <Override PartName="/ppt/charts/chart346.xml" ContentType="application/vnd.openxmlformats-officedocument.drawingml.chart+xml"/>
  <Override PartName="/ppt/tags/tag195.xml" ContentType="application/vnd.openxmlformats-officedocument.presentationml.tags+xml"/>
  <Override PartName="/ppt/charts/chart347.xml" ContentType="application/vnd.openxmlformats-officedocument.drawingml.chart+xml"/>
  <Override PartName="/ppt/tags/tag196.xml" ContentType="application/vnd.openxmlformats-officedocument.presentationml.tags+xml"/>
  <Override PartName="/ppt/charts/chart348.xml" ContentType="application/vnd.openxmlformats-officedocument.drawingml.chart+xml"/>
  <Override PartName="/ppt/tags/tag197.xml" ContentType="application/vnd.openxmlformats-officedocument.presentationml.tags+xml"/>
  <Override PartName="/ppt/charts/chart349.xml" ContentType="application/vnd.openxmlformats-officedocument.drawingml.chart+xml"/>
  <Override PartName="/ppt/tags/tag198.xml" ContentType="application/vnd.openxmlformats-officedocument.presentationml.tags+xml"/>
  <Override PartName="/ppt/charts/chart350.xml" ContentType="application/vnd.openxmlformats-officedocument.drawingml.chart+xml"/>
  <Override PartName="/ppt/tags/tag199.xml" ContentType="application/vnd.openxmlformats-officedocument.presentationml.tags+xml"/>
  <Override PartName="/ppt/charts/chart351.xml" ContentType="application/vnd.openxmlformats-officedocument.drawingml.chart+xml"/>
  <Override PartName="/ppt/tags/tag200.xml" ContentType="application/vnd.openxmlformats-officedocument.presentationml.tags+xml"/>
  <Override PartName="/ppt/charts/chart352.xml" ContentType="application/vnd.openxmlformats-officedocument.drawingml.chart+xml"/>
  <Override PartName="/ppt/tags/tag201.xml" ContentType="application/vnd.openxmlformats-officedocument.presentationml.tags+xml"/>
  <Override PartName="/ppt/charts/chart353.xml" ContentType="application/vnd.openxmlformats-officedocument.drawingml.chart+xml"/>
  <Override PartName="/ppt/tags/tag202.xml" ContentType="application/vnd.openxmlformats-officedocument.presentationml.tags+xml"/>
  <Override PartName="/ppt/charts/chart354.xml" ContentType="application/vnd.openxmlformats-officedocument.drawingml.chart+xml"/>
  <Override PartName="/ppt/tags/tag203.xml" ContentType="application/vnd.openxmlformats-officedocument.presentationml.tags+xml"/>
  <Override PartName="/ppt/charts/chart355.xml" ContentType="application/vnd.openxmlformats-officedocument.drawingml.chart+xml"/>
  <Override PartName="/ppt/tags/tag204.xml" ContentType="application/vnd.openxmlformats-officedocument.presentationml.tags+xml"/>
  <Override PartName="/ppt/charts/chart356.xml" ContentType="application/vnd.openxmlformats-officedocument.drawingml.chart+xml"/>
  <Override PartName="/ppt/tags/tag205.xml" ContentType="application/vnd.openxmlformats-officedocument.presentationml.tags+xml"/>
  <Override PartName="/ppt/charts/chart357.xml" ContentType="application/vnd.openxmlformats-officedocument.drawingml.chart+xml"/>
  <Override PartName="/ppt/tags/tag206.xml" ContentType="application/vnd.openxmlformats-officedocument.presentationml.tags+xml"/>
  <Override PartName="/ppt/charts/chart358.xml" ContentType="application/vnd.openxmlformats-officedocument.drawingml.chart+xml"/>
  <Override PartName="/ppt/tags/tag207.xml" ContentType="application/vnd.openxmlformats-officedocument.presentationml.tags+xml"/>
  <Override PartName="/ppt/charts/chart359.xml" ContentType="application/vnd.openxmlformats-officedocument.drawingml.chart+xml"/>
  <Override PartName="/ppt/tags/tag208.xml" ContentType="application/vnd.openxmlformats-officedocument.presentationml.tags+xml"/>
  <Override PartName="/ppt/charts/chart360.xml" ContentType="application/vnd.openxmlformats-officedocument.drawingml.chart+xml"/>
  <Override PartName="/ppt/tags/tag209.xml" ContentType="application/vnd.openxmlformats-officedocument.presentationml.tags+xml"/>
  <Override PartName="/ppt/charts/chart361.xml" ContentType="application/vnd.openxmlformats-officedocument.drawingml.chart+xml"/>
  <Override PartName="/ppt/tags/tag210.xml" ContentType="application/vnd.openxmlformats-officedocument.presentationml.tags+xml"/>
  <Override PartName="/ppt/charts/chart362.xml" ContentType="application/vnd.openxmlformats-officedocument.drawingml.chart+xml"/>
  <Override PartName="/ppt/tags/tag211.xml" ContentType="application/vnd.openxmlformats-officedocument.presentationml.tags+xml"/>
  <Override PartName="/ppt/charts/chart363.xml" ContentType="application/vnd.openxmlformats-officedocument.drawingml.chart+xml"/>
  <Override PartName="/ppt/tags/tag212.xml" ContentType="application/vnd.openxmlformats-officedocument.presentationml.tags+xml"/>
  <Override PartName="/ppt/charts/chart364.xml" ContentType="application/vnd.openxmlformats-officedocument.drawingml.chart+xml"/>
  <Override PartName="/ppt/tags/tag213.xml" ContentType="application/vnd.openxmlformats-officedocument.presentationml.tags+xml"/>
  <Override PartName="/ppt/charts/chart365.xml" ContentType="application/vnd.openxmlformats-officedocument.drawingml.chart+xml"/>
  <Override PartName="/ppt/tags/tag214.xml" ContentType="application/vnd.openxmlformats-officedocument.presentationml.tags+xml"/>
  <Override PartName="/ppt/charts/chart366.xml" ContentType="application/vnd.openxmlformats-officedocument.drawingml.chart+xml"/>
  <Override PartName="/ppt/tags/tag215.xml" ContentType="application/vnd.openxmlformats-officedocument.presentationml.tags+xml"/>
  <Override PartName="/ppt/charts/chart367.xml" ContentType="application/vnd.openxmlformats-officedocument.drawingml.chart+xml"/>
  <Override PartName="/ppt/tags/tag216.xml" ContentType="application/vnd.openxmlformats-officedocument.presentationml.tags+xml"/>
  <Override PartName="/ppt/charts/chart368.xml" ContentType="application/vnd.openxmlformats-officedocument.drawingml.chart+xml"/>
  <Override PartName="/ppt/tags/tag217.xml" ContentType="application/vnd.openxmlformats-officedocument.presentationml.tags+xml"/>
  <Override PartName="/ppt/charts/chart369.xml" ContentType="application/vnd.openxmlformats-officedocument.drawingml.chart+xml"/>
  <Override PartName="/ppt/tags/tag218.xml" ContentType="application/vnd.openxmlformats-officedocument.presentationml.tags+xml"/>
  <Override PartName="/ppt/charts/chart370.xml" ContentType="application/vnd.openxmlformats-officedocument.drawingml.chart+xml"/>
  <Override PartName="/ppt/tags/tag219.xml" ContentType="application/vnd.openxmlformats-officedocument.presentationml.tags+xml"/>
  <Override PartName="/ppt/charts/chart371.xml" ContentType="application/vnd.openxmlformats-officedocument.drawingml.chart+xml"/>
  <Override PartName="/ppt/tags/tag220.xml" ContentType="application/vnd.openxmlformats-officedocument.presentationml.tags+xml"/>
  <Override PartName="/ppt/charts/chart372.xml" ContentType="application/vnd.openxmlformats-officedocument.drawingml.chart+xml"/>
  <Override PartName="/ppt/tags/tag221.xml" ContentType="application/vnd.openxmlformats-officedocument.presentationml.tags+xml"/>
  <Override PartName="/ppt/charts/chart373.xml" ContentType="application/vnd.openxmlformats-officedocument.drawingml.chart+xml"/>
  <Override PartName="/ppt/tags/tag222.xml" ContentType="application/vnd.openxmlformats-officedocument.presentationml.tags+xml"/>
  <Override PartName="/ppt/charts/chart374.xml" ContentType="application/vnd.openxmlformats-officedocument.drawingml.chart+xml"/>
  <Override PartName="/ppt/tags/tag223.xml" ContentType="application/vnd.openxmlformats-officedocument.presentationml.tags+xml"/>
  <Override PartName="/ppt/charts/chart375.xml" ContentType="application/vnd.openxmlformats-officedocument.drawingml.chart+xml"/>
  <Override PartName="/ppt/tags/tag224.xml" ContentType="application/vnd.openxmlformats-officedocument.presentationml.tags+xml"/>
  <Override PartName="/ppt/charts/chart376.xml" ContentType="application/vnd.openxmlformats-officedocument.drawingml.chart+xml"/>
  <Override PartName="/ppt/tags/tag225.xml" ContentType="application/vnd.openxmlformats-officedocument.presentationml.tags+xml"/>
  <Override PartName="/ppt/charts/chart377.xml" ContentType="application/vnd.openxmlformats-officedocument.drawingml.chart+xml"/>
  <Override PartName="/ppt/tags/tag226.xml" ContentType="application/vnd.openxmlformats-officedocument.presentationml.tags+xml"/>
  <Override PartName="/ppt/charts/chart378.xml" ContentType="application/vnd.openxmlformats-officedocument.drawingml.chart+xml"/>
  <Override PartName="/ppt/tags/tag227.xml" ContentType="application/vnd.openxmlformats-officedocument.presentationml.tags+xml"/>
  <Override PartName="/ppt/charts/chart379.xml" ContentType="application/vnd.openxmlformats-officedocument.drawingml.chart+xml"/>
  <Override PartName="/ppt/tags/tag228.xml" ContentType="application/vnd.openxmlformats-officedocument.presentationml.tags+xml"/>
  <Override PartName="/ppt/charts/chart380.xml" ContentType="application/vnd.openxmlformats-officedocument.drawingml.chart+xml"/>
  <Override PartName="/ppt/tags/tag229.xml" ContentType="application/vnd.openxmlformats-officedocument.presentationml.tags+xml"/>
  <Override PartName="/ppt/charts/chart381.xml" ContentType="application/vnd.openxmlformats-officedocument.drawingml.chart+xml"/>
  <Override PartName="/ppt/tags/tag230.xml" ContentType="application/vnd.openxmlformats-officedocument.presentationml.tags+xml"/>
  <Override PartName="/ppt/charts/chart382.xml" ContentType="application/vnd.openxmlformats-officedocument.drawingml.chart+xml"/>
  <Override PartName="/ppt/tags/tag231.xml" ContentType="application/vnd.openxmlformats-officedocument.presentationml.tags+xml"/>
  <Override PartName="/ppt/charts/chart383.xml" ContentType="application/vnd.openxmlformats-officedocument.drawingml.chart+xml"/>
  <Override PartName="/ppt/tags/tag232.xml" ContentType="application/vnd.openxmlformats-officedocument.presentationml.tags+xml"/>
  <Override PartName="/ppt/charts/chart384.xml" ContentType="application/vnd.openxmlformats-officedocument.drawingml.chart+xml"/>
  <Override PartName="/ppt/tags/tag233.xml" ContentType="application/vnd.openxmlformats-officedocument.presentationml.tags+xml"/>
  <Override PartName="/ppt/charts/chart385.xml" ContentType="application/vnd.openxmlformats-officedocument.drawingml.chart+xml"/>
  <Override PartName="/ppt/tags/tag234.xml" ContentType="application/vnd.openxmlformats-officedocument.presentationml.tags+xml"/>
  <Override PartName="/ppt/charts/chart386.xml" ContentType="application/vnd.openxmlformats-officedocument.drawingml.chart+xml"/>
  <Override PartName="/ppt/tags/tag235.xml" ContentType="application/vnd.openxmlformats-officedocument.presentationml.tags+xml"/>
  <Override PartName="/ppt/charts/chart387.xml" ContentType="application/vnd.openxmlformats-officedocument.drawingml.chart+xml"/>
  <Override PartName="/ppt/tags/tag236.xml" ContentType="application/vnd.openxmlformats-officedocument.presentationml.tags+xml"/>
  <Override PartName="/ppt/charts/chart388.xml" ContentType="application/vnd.openxmlformats-officedocument.drawingml.chart+xml"/>
  <Override PartName="/ppt/tags/tag237.xml" ContentType="application/vnd.openxmlformats-officedocument.presentationml.tags+xml"/>
  <Override PartName="/ppt/charts/chart389.xml" ContentType="application/vnd.openxmlformats-officedocument.drawingml.chart+xml"/>
  <Override PartName="/ppt/tags/tag238.xml" ContentType="application/vnd.openxmlformats-officedocument.presentationml.tags+xml"/>
  <Override PartName="/ppt/charts/chart390.xml" ContentType="application/vnd.openxmlformats-officedocument.drawingml.chart+xml"/>
  <Override PartName="/ppt/tags/tag239.xml" ContentType="application/vnd.openxmlformats-officedocument.presentationml.tags+xml"/>
  <Override PartName="/ppt/charts/chart391.xml" ContentType="application/vnd.openxmlformats-officedocument.drawingml.chart+xml"/>
  <Override PartName="/ppt/tags/tag240.xml" ContentType="application/vnd.openxmlformats-officedocument.presentationml.tags+xml"/>
  <Override PartName="/ppt/charts/chart392.xml" ContentType="application/vnd.openxmlformats-officedocument.drawingml.chart+xml"/>
  <Override PartName="/ppt/tags/tag241.xml" ContentType="application/vnd.openxmlformats-officedocument.presentationml.tags+xml"/>
  <Override PartName="/ppt/charts/chart393.xml" ContentType="application/vnd.openxmlformats-officedocument.drawingml.chart+xml"/>
  <Override PartName="/ppt/tags/tag242.xml" ContentType="application/vnd.openxmlformats-officedocument.presentationml.tags+xml"/>
  <Override PartName="/ppt/charts/chart394.xml" ContentType="application/vnd.openxmlformats-officedocument.drawingml.chart+xml"/>
  <Override PartName="/ppt/tags/tag243.xml" ContentType="application/vnd.openxmlformats-officedocument.presentationml.tags+xml"/>
  <Override PartName="/ppt/charts/chart395.xml" ContentType="application/vnd.openxmlformats-officedocument.drawingml.chart+xml"/>
  <Override PartName="/ppt/tags/tag244.xml" ContentType="application/vnd.openxmlformats-officedocument.presentationml.tags+xml"/>
  <Override PartName="/ppt/charts/chart396.xml" ContentType="application/vnd.openxmlformats-officedocument.drawingml.chart+xml"/>
  <Override PartName="/ppt/tags/tag245.xml" ContentType="application/vnd.openxmlformats-officedocument.presentationml.tags+xml"/>
  <Override PartName="/ppt/charts/chart397.xml" ContentType="application/vnd.openxmlformats-officedocument.drawingml.chart+xml"/>
  <Override PartName="/ppt/tags/tag246.xml" ContentType="application/vnd.openxmlformats-officedocument.presentationml.tags+xml"/>
  <Override PartName="/ppt/charts/chart398.xml" ContentType="application/vnd.openxmlformats-officedocument.drawingml.chart+xml"/>
  <Override PartName="/ppt/tags/tag247.xml" ContentType="application/vnd.openxmlformats-officedocument.presentationml.tags+xml"/>
  <Override PartName="/ppt/charts/chart399.xml" ContentType="application/vnd.openxmlformats-officedocument.drawingml.chart+xml"/>
  <Override PartName="/ppt/tags/tag248.xml" ContentType="application/vnd.openxmlformats-officedocument.presentationml.tags+xml"/>
  <Override PartName="/ppt/charts/chart400.xml" ContentType="application/vnd.openxmlformats-officedocument.drawingml.chart+xml"/>
  <Override PartName="/ppt/tags/tag249.xml" ContentType="application/vnd.openxmlformats-officedocument.presentationml.tags+xml"/>
  <Override PartName="/ppt/charts/chart401.xml" ContentType="application/vnd.openxmlformats-officedocument.drawingml.chart+xml"/>
  <Override PartName="/ppt/tags/tag250.xml" ContentType="application/vnd.openxmlformats-officedocument.presentationml.tags+xml"/>
  <Override PartName="/ppt/charts/chart402.xml" ContentType="application/vnd.openxmlformats-officedocument.drawingml.chart+xml"/>
  <Override PartName="/ppt/tags/tag251.xml" ContentType="application/vnd.openxmlformats-officedocument.presentationml.tags+xml"/>
  <Override PartName="/ppt/charts/chart403.xml" ContentType="application/vnd.openxmlformats-officedocument.drawingml.chart+xml"/>
  <Override PartName="/ppt/tags/tag252.xml" ContentType="application/vnd.openxmlformats-officedocument.presentationml.tags+xml"/>
  <Override PartName="/ppt/charts/chart404.xml" ContentType="application/vnd.openxmlformats-officedocument.drawingml.chart+xml"/>
  <Override PartName="/ppt/tags/tag253.xml" ContentType="application/vnd.openxmlformats-officedocument.presentationml.tags+xml"/>
  <Override PartName="/ppt/charts/chart405.xml" ContentType="application/vnd.openxmlformats-officedocument.drawingml.chart+xml"/>
  <Override PartName="/ppt/tags/tag254.xml" ContentType="application/vnd.openxmlformats-officedocument.presentationml.tags+xml"/>
  <Override PartName="/ppt/charts/chart406.xml" ContentType="application/vnd.openxmlformats-officedocument.drawingml.chart+xml"/>
  <Override PartName="/ppt/tags/tag255.xml" ContentType="application/vnd.openxmlformats-officedocument.presentationml.tags+xml"/>
  <Override PartName="/ppt/charts/chart407.xml" ContentType="application/vnd.openxmlformats-officedocument.drawingml.chart+xml"/>
  <Override PartName="/ppt/tags/tag256.xml" ContentType="application/vnd.openxmlformats-officedocument.presentationml.tags+xml"/>
  <Override PartName="/ppt/charts/chart408.xml" ContentType="application/vnd.openxmlformats-officedocument.drawingml.chart+xml"/>
  <Override PartName="/ppt/tags/tag257.xml" ContentType="application/vnd.openxmlformats-officedocument.presentationml.tags+xml"/>
  <Override PartName="/ppt/charts/chart409.xml" ContentType="application/vnd.openxmlformats-officedocument.drawingml.chart+xml"/>
  <Override PartName="/ppt/tags/tag258.xml" ContentType="application/vnd.openxmlformats-officedocument.presentationml.tags+xml"/>
  <Override PartName="/ppt/charts/chart410.xml" ContentType="application/vnd.openxmlformats-officedocument.drawingml.chart+xml"/>
  <Override PartName="/ppt/tags/tag259.xml" ContentType="application/vnd.openxmlformats-officedocument.presentationml.tags+xml"/>
  <Override PartName="/ppt/charts/chart411.xml" ContentType="application/vnd.openxmlformats-officedocument.drawingml.chart+xml"/>
  <Override PartName="/ppt/tags/tag260.xml" ContentType="application/vnd.openxmlformats-officedocument.presentationml.tags+xml"/>
  <Override PartName="/ppt/charts/chart412.xml" ContentType="application/vnd.openxmlformats-officedocument.drawingml.chart+xml"/>
  <Override PartName="/ppt/tags/tag261.xml" ContentType="application/vnd.openxmlformats-officedocument.presentationml.tags+xml"/>
  <Override PartName="/ppt/charts/chart413.xml" ContentType="application/vnd.openxmlformats-officedocument.drawingml.chart+xml"/>
  <Override PartName="/ppt/tags/tag262.xml" ContentType="application/vnd.openxmlformats-officedocument.presentationml.tags+xml"/>
  <Override PartName="/ppt/charts/chart414.xml" ContentType="application/vnd.openxmlformats-officedocument.drawingml.chart+xml"/>
  <Override PartName="/ppt/tags/tag263.xml" ContentType="application/vnd.openxmlformats-officedocument.presentationml.tags+xml"/>
  <Override PartName="/ppt/charts/chart415.xml" ContentType="application/vnd.openxmlformats-officedocument.drawingml.chart+xml"/>
  <Override PartName="/ppt/tags/tag264.xml" ContentType="application/vnd.openxmlformats-officedocument.presentationml.tags+xml"/>
  <Override PartName="/ppt/charts/chart416.xml" ContentType="application/vnd.openxmlformats-officedocument.drawingml.chart+xml"/>
  <Override PartName="/ppt/tags/tag265.xml" ContentType="application/vnd.openxmlformats-officedocument.presentationml.tags+xml"/>
  <Override PartName="/ppt/charts/chart417.xml" ContentType="application/vnd.openxmlformats-officedocument.drawingml.chart+xml"/>
  <Override PartName="/ppt/tags/tag266.xml" ContentType="application/vnd.openxmlformats-officedocument.presentationml.tags+xml"/>
  <Override PartName="/ppt/charts/chart418.xml" ContentType="application/vnd.openxmlformats-officedocument.drawingml.chart+xml"/>
  <Override PartName="/ppt/tags/tag267.xml" ContentType="application/vnd.openxmlformats-officedocument.presentationml.tags+xml"/>
  <Override PartName="/ppt/charts/chart419.xml" ContentType="application/vnd.openxmlformats-officedocument.drawingml.chart+xml"/>
  <Override PartName="/ppt/tags/tag268.xml" ContentType="application/vnd.openxmlformats-officedocument.presentationml.tags+xml"/>
  <Override PartName="/ppt/charts/chart420.xml" ContentType="application/vnd.openxmlformats-officedocument.drawingml.chart+xml"/>
  <Override PartName="/ppt/tags/tag269.xml" ContentType="application/vnd.openxmlformats-officedocument.presentationml.tags+xml"/>
  <Override PartName="/ppt/charts/chart421.xml" ContentType="application/vnd.openxmlformats-officedocument.drawingml.chart+xml"/>
  <Override PartName="/ppt/tags/tag270.xml" ContentType="application/vnd.openxmlformats-officedocument.presentationml.tags+xml"/>
  <Override PartName="/ppt/charts/chart422.xml" ContentType="application/vnd.openxmlformats-officedocument.drawingml.chart+xml"/>
  <Override PartName="/ppt/tags/tag271.xml" ContentType="application/vnd.openxmlformats-officedocument.presentationml.tags+xml"/>
  <Override PartName="/ppt/charts/chart423.xml" ContentType="application/vnd.openxmlformats-officedocument.drawingml.chart+xml"/>
  <Override PartName="/ppt/tags/tag272.xml" ContentType="application/vnd.openxmlformats-officedocument.presentationml.tags+xml"/>
  <Override PartName="/ppt/charts/chart424.xml" ContentType="application/vnd.openxmlformats-officedocument.drawingml.chart+xml"/>
  <Override PartName="/ppt/tags/tag273.xml" ContentType="application/vnd.openxmlformats-officedocument.presentationml.tags+xml"/>
  <Override PartName="/ppt/charts/chart425.xml" ContentType="application/vnd.openxmlformats-officedocument.drawingml.chart+xml"/>
  <Override PartName="/ppt/tags/tag274.xml" ContentType="application/vnd.openxmlformats-officedocument.presentationml.tags+xml"/>
  <Override PartName="/ppt/charts/chart426.xml" ContentType="application/vnd.openxmlformats-officedocument.drawingml.chart+xml"/>
  <Override PartName="/ppt/tags/tag275.xml" ContentType="application/vnd.openxmlformats-officedocument.presentationml.tags+xml"/>
  <Override PartName="/ppt/charts/chart427.xml" ContentType="application/vnd.openxmlformats-officedocument.drawingml.chart+xml"/>
  <Override PartName="/ppt/tags/tag276.xml" ContentType="application/vnd.openxmlformats-officedocument.presentationml.tags+xml"/>
  <Override PartName="/ppt/charts/chart428.xml" ContentType="application/vnd.openxmlformats-officedocument.drawingml.chart+xml"/>
  <Override PartName="/ppt/tags/tag277.xml" ContentType="application/vnd.openxmlformats-officedocument.presentationml.tags+xml"/>
  <Override PartName="/ppt/charts/chart429.xml" ContentType="application/vnd.openxmlformats-officedocument.drawingml.chart+xml"/>
  <Override PartName="/ppt/tags/tag278.xml" ContentType="application/vnd.openxmlformats-officedocument.presentationml.tags+xml"/>
  <Override PartName="/ppt/charts/chart430.xml" ContentType="application/vnd.openxmlformats-officedocument.drawingml.chart+xml"/>
  <Override PartName="/ppt/tags/tag279.xml" ContentType="application/vnd.openxmlformats-officedocument.presentationml.tags+xml"/>
  <Override PartName="/ppt/charts/chart431.xml" ContentType="application/vnd.openxmlformats-officedocument.drawingml.chart+xml"/>
  <Override PartName="/ppt/tags/tag280.xml" ContentType="application/vnd.openxmlformats-officedocument.presentationml.tags+xml"/>
  <Override PartName="/ppt/charts/chart432.xml" ContentType="application/vnd.openxmlformats-officedocument.drawingml.chart+xml"/>
  <Override PartName="/ppt/tags/tag281.xml" ContentType="application/vnd.openxmlformats-officedocument.presentationml.tags+xml"/>
  <Override PartName="/ppt/charts/chart433.xml" ContentType="application/vnd.openxmlformats-officedocument.drawingml.chart+xml"/>
  <Override PartName="/ppt/tags/tag282.xml" ContentType="application/vnd.openxmlformats-officedocument.presentationml.tags+xml"/>
  <Override PartName="/ppt/charts/chart434.xml" ContentType="application/vnd.openxmlformats-officedocument.drawingml.chart+xml"/>
  <Override PartName="/ppt/tags/tag283.xml" ContentType="application/vnd.openxmlformats-officedocument.presentationml.tags+xml"/>
  <Override PartName="/ppt/charts/chart435.xml" ContentType="application/vnd.openxmlformats-officedocument.drawingml.chart+xml"/>
  <Override PartName="/ppt/tags/tag284.xml" ContentType="application/vnd.openxmlformats-officedocument.presentationml.tags+xml"/>
  <Override PartName="/ppt/charts/chart436.xml" ContentType="application/vnd.openxmlformats-officedocument.drawingml.chart+xml"/>
  <Override PartName="/ppt/tags/tag285.xml" ContentType="application/vnd.openxmlformats-officedocument.presentationml.tags+xml"/>
  <Override PartName="/ppt/charts/chart437.xml" ContentType="application/vnd.openxmlformats-officedocument.drawingml.chart+xml"/>
  <Override PartName="/ppt/tags/tag286.xml" ContentType="application/vnd.openxmlformats-officedocument.presentationml.tags+xml"/>
  <Override PartName="/ppt/charts/chart438.xml" ContentType="application/vnd.openxmlformats-officedocument.drawingml.chart+xml"/>
  <Override PartName="/ppt/tags/tag287.xml" ContentType="application/vnd.openxmlformats-officedocument.presentationml.tags+xml"/>
  <Override PartName="/ppt/charts/chart439.xml" ContentType="application/vnd.openxmlformats-officedocument.drawingml.chart+xml"/>
  <Override PartName="/ppt/tags/tag288.xml" ContentType="application/vnd.openxmlformats-officedocument.presentationml.tags+xml"/>
  <Override PartName="/ppt/charts/chart440.xml" ContentType="application/vnd.openxmlformats-officedocument.drawingml.chart+xml"/>
  <Override PartName="/ppt/tags/tag289.xml" ContentType="application/vnd.openxmlformats-officedocument.presentationml.tags+xml"/>
  <Override PartName="/ppt/charts/chart441.xml" ContentType="application/vnd.openxmlformats-officedocument.drawingml.chart+xml"/>
  <Override PartName="/ppt/tags/tag290.xml" ContentType="application/vnd.openxmlformats-officedocument.presentationml.tags+xml"/>
  <Override PartName="/ppt/charts/chart442.xml" ContentType="application/vnd.openxmlformats-officedocument.drawingml.chart+xml"/>
  <Override PartName="/ppt/tags/tag291.xml" ContentType="application/vnd.openxmlformats-officedocument.presentationml.tags+xml"/>
  <Override PartName="/ppt/charts/chart443.xml" ContentType="application/vnd.openxmlformats-officedocument.drawingml.chart+xml"/>
  <Override PartName="/ppt/tags/tag292.xml" ContentType="application/vnd.openxmlformats-officedocument.presentationml.tags+xml"/>
  <Override PartName="/ppt/charts/chart444.xml" ContentType="application/vnd.openxmlformats-officedocument.drawingml.chart+xml"/>
  <Override PartName="/ppt/tags/tag293.xml" ContentType="application/vnd.openxmlformats-officedocument.presentationml.tags+xml"/>
  <Override PartName="/ppt/charts/chart445.xml" ContentType="application/vnd.openxmlformats-officedocument.drawingml.chart+xml"/>
  <Override PartName="/ppt/tags/tag294.xml" ContentType="application/vnd.openxmlformats-officedocument.presentationml.tags+xml"/>
  <Override PartName="/ppt/charts/chart446.xml" ContentType="application/vnd.openxmlformats-officedocument.drawingml.chart+xml"/>
  <Override PartName="/ppt/tags/tag295.xml" ContentType="application/vnd.openxmlformats-officedocument.presentationml.tags+xml"/>
  <Override PartName="/ppt/charts/chart447.xml" ContentType="application/vnd.openxmlformats-officedocument.drawingml.chart+xml"/>
  <Override PartName="/ppt/tags/tag296.xml" ContentType="application/vnd.openxmlformats-officedocument.presentationml.tags+xml"/>
  <Override PartName="/ppt/charts/chart448.xml" ContentType="application/vnd.openxmlformats-officedocument.drawingml.chart+xml"/>
  <Override PartName="/ppt/tags/tag297.xml" ContentType="application/vnd.openxmlformats-officedocument.presentationml.tags+xml"/>
  <Override PartName="/ppt/charts/chart449.xml" ContentType="application/vnd.openxmlformats-officedocument.drawingml.chart+xml"/>
  <Override PartName="/ppt/tags/tag298.xml" ContentType="application/vnd.openxmlformats-officedocument.presentationml.tags+xml"/>
  <Override PartName="/ppt/charts/chart450.xml" ContentType="application/vnd.openxmlformats-officedocument.drawingml.chart+xml"/>
  <Override PartName="/ppt/tags/tag299.xml" ContentType="application/vnd.openxmlformats-officedocument.presentationml.tags+xml"/>
  <Override PartName="/ppt/charts/chart451.xml" ContentType="application/vnd.openxmlformats-officedocument.drawingml.chart+xml"/>
  <Override PartName="/ppt/tags/tag300.xml" ContentType="application/vnd.openxmlformats-officedocument.presentationml.tags+xml"/>
  <Override PartName="/ppt/charts/chart452.xml" ContentType="application/vnd.openxmlformats-officedocument.drawingml.chart+xml"/>
  <Override PartName="/ppt/tags/tag301.xml" ContentType="application/vnd.openxmlformats-officedocument.presentationml.tags+xml"/>
  <Override PartName="/ppt/charts/chart453.xml" ContentType="application/vnd.openxmlformats-officedocument.drawingml.chart+xml"/>
  <Override PartName="/ppt/tags/tag302.xml" ContentType="application/vnd.openxmlformats-officedocument.presentationml.tags+xml"/>
  <Override PartName="/ppt/charts/chart454.xml" ContentType="application/vnd.openxmlformats-officedocument.drawingml.chart+xml"/>
  <Override PartName="/ppt/tags/tag303.xml" ContentType="application/vnd.openxmlformats-officedocument.presentationml.tags+xml"/>
  <Override PartName="/ppt/charts/chart455.xml" ContentType="application/vnd.openxmlformats-officedocument.drawingml.chart+xml"/>
  <Override PartName="/ppt/tags/tag304.xml" ContentType="application/vnd.openxmlformats-officedocument.presentationml.tags+xml"/>
  <Override PartName="/ppt/charts/chart456.xml" ContentType="application/vnd.openxmlformats-officedocument.drawingml.chart+xml"/>
  <Override PartName="/ppt/tags/tag305.xml" ContentType="application/vnd.openxmlformats-officedocument.presentationml.tags+xml"/>
  <Override PartName="/ppt/charts/chart457.xml" ContentType="application/vnd.openxmlformats-officedocument.drawingml.chart+xml"/>
  <Override PartName="/ppt/tags/tag306.xml" ContentType="application/vnd.openxmlformats-officedocument.presentationml.tags+xml"/>
  <Override PartName="/ppt/charts/chart458.xml" ContentType="application/vnd.openxmlformats-officedocument.drawingml.chart+xml"/>
  <Override PartName="/ppt/tags/tag307.xml" ContentType="application/vnd.openxmlformats-officedocument.presentationml.tags+xml"/>
  <Override PartName="/ppt/charts/chart459.xml" ContentType="application/vnd.openxmlformats-officedocument.drawingml.chart+xml"/>
  <Override PartName="/ppt/tags/tag308.xml" ContentType="application/vnd.openxmlformats-officedocument.presentationml.tags+xml"/>
  <Override PartName="/ppt/charts/chart460.xml" ContentType="application/vnd.openxmlformats-officedocument.drawingml.chart+xml"/>
  <Override PartName="/ppt/tags/tag309.xml" ContentType="application/vnd.openxmlformats-officedocument.presentationml.tags+xml"/>
  <Override PartName="/ppt/charts/chart461.xml" ContentType="application/vnd.openxmlformats-officedocument.drawingml.chart+xml"/>
  <Override PartName="/ppt/tags/tag310.xml" ContentType="application/vnd.openxmlformats-officedocument.presentationml.tags+xml"/>
  <Override PartName="/ppt/charts/chart462.xml" ContentType="application/vnd.openxmlformats-officedocument.drawingml.chart+xml"/>
  <Override PartName="/ppt/tags/tag311.xml" ContentType="application/vnd.openxmlformats-officedocument.presentationml.tags+xml"/>
  <Override PartName="/ppt/charts/chart463.xml" ContentType="application/vnd.openxmlformats-officedocument.drawingml.chart+xml"/>
  <Override PartName="/ppt/tags/tag312.xml" ContentType="application/vnd.openxmlformats-officedocument.presentationml.tags+xml"/>
  <Override PartName="/ppt/charts/chart464.xml" ContentType="application/vnd.openxmlformats-officedocument.drawingml.chart+xml"/>
  <Override PartName="/ppt/tags/tag313.xml" ContentType="application/vnd.openxmlformats-officedocument.presentationml.tags+xml"/>
  <Override PartName="/ppt/charts/chart465.xml" ContentType="application/vnd.openxmlformats-officedocument.drawingml.chart+xml"/>
  <Override PartName="/ppt/tags/tag314.xml" ContentType="application/vnd.openxmlformats-officedocument.presentationml.tags+xml"/>
  <Override PartName="/ppt/charts/chart466.xml" ContentType="application/vnd.openxmlformats-officedocument.drawingml.chart+xml"/>
  <Override PartName="/ppt/tags/tag315.xml" ContentType="application/vnd.openxmlformats-officedocument.presentationml.tags+xml"/>
  <Override PartName="/ppt/charts/chart467.xml" ContentType="application/vnd.openxmlformats-officedocument.drawingml.chart+xml"/>
  <Override PartName="/ppt/tags/tag316.xml" ContentType="application/vnd.openxmlformats-officedocument.presentationml.tags+xml"/>
  <Override PartName="/ppt/charts/chart468.xml" ContentType="application/vnd.openxmlformats-officedocument.drawingml.chart+xml"/>
  <Override PartName="/ppt/tags/tag317.xml" ContentType="application/vnd.openxmlformats-officedocument.presentationml.tags+xml"/>
  <Override PartName="/ppt/charts/chart469.xml" ContentType="application/vnd.openxmlformats-officedocument.drawingml.chart+xml"/>
  <Override PartName="/ppt/tags/tag318.xml" ContentType="application/vnd.openxmlformats-officedocument.presentationml.tags+xml"/>
  <Override PartName="/ppt/charts/chart470.xml" ContentType="application/vnd.openxmlformats-officedocument.drawingml.chart+xml"/>
  <Override PartName="/ppt/tags/tag319.xml" ContentType="application/vnd.openxmlformats-officedocument.presentationml.tags+xml"/>
  <Override PartName="/ppt/charts/chart471.xml" ContentType="application/vnd.openxmlformats-officedocument.drawingml.chart+xml"/>
  <Override PartName="/ppt/tags/tag320.xml" ContentType="application/vnd.openxmlformats-officedocument.presentationml.tags+xml"/>
  <Override PartName="/ppt/charts/chart472.xml" ContentType="application/vnd.openxmlformats-officedocument.drawingml.chart+xml"/>
  <Override PartName="/ppt/tags/tag321.xml" ContentType="application/vnd.openxmlformats-officedocument.presentationml.tags+xml"/>
  <Override PartName="/ppt/charts/chart473.xml" ContentType="application/vnd.openxmlformats-officedocument.drawingml.chart+xml"/>
  <Override PartName="/ppt/tags/tag322.xml" ContentType="application/vnd.openxmlformats-officedocument.presentationml.tags+xml"/>
  <Override PartName="/ppt/charts/chart474.xml" ContentType="application/vnd.openxmlformats-officedocument.drawingml.chart+xml"/>
  <Override PartName="/ppt/tags/tag323.xml" ContentType="application/vnd.openxmlformats-officedocument.presentationml.tags+xml"/>
  <Override PartName="/ppt/charts/chart475.xml" ContentType="application/vnd.openxmlformats-officedocument.drawingml.chart+xml"/>
  <Override PartName="/ppt/tags/tag324.xml" ContentType="application/vnd.openxmlformats-officedocument.presentationml.tags+xml"/>
  <Override PartName="/ppt/charts/chart476.xml" ContentType="application/vnd.openxmlformats-officedocument.drawingml.chart+xml"/>
  <Override PartName="/ppt/tags/tag325.xml" ContentType="application/vnd.openxmlformats-officedocument.presentationml.tags+xml"/>
  <Override PartName="/ppt/charts/chart477.xml" ContentType="application/vnd.openxmlformats-officedocument.drawingml.chart+xml"/>
  <Override PartName="/ppt/tags/tag326.xml" ContentType="application/vnd.openxmlformats-officedocument.presentationml.tags+xml"/>
  <Override PartName="/ppt/charts/chart478.xml" ContentType="application/vnd.openxmlformats-officedocument.drawingml.chart+xml"/>
  <Override PartName="/ppt/tags/tag327.xml" ContentType="application/vnd.openxmlformats-officedocument.presentationml.tags+xml"/>
  <Override PartName="/ppt/charts/chart479.xml" ContentType="application/vnd.openxmlformats-officedocument.drawingml.chart+xml"/>
  <Override PartName="/ppt/tags/tag328.xml" ContentType="application/vnd.openxmlformats-officedocument.presentationml.tags+xml"/>
  <Override PartName="/ppt/charts/chart480.xml" ContentType="application/vnd.openxmlformats-officedocument.drawingml.chart+xml"/>
  <Override PartName="/ppt/tags/tag329.xml" ContentType="application/vnd.openxmlformats-officedocument.presentationml.tags+xml"/>
  <Override PartName="/ppt/charts/chart481.xml" ContentType="application/vnd.openxmlformats-officedocument.drawingml.chart+xml"/>
  <Override PartName="/ppt/tags/tag330.xml" ContentType="application/vnd.openxmlformats-officedocument.presentationml.tags+xml"/>
  <Override PartName="/ppt/charts/chart482.xml" ContentType="application/vnd.openxmlformats-officedocument.drawingml.chart+xml"/>
  <Override PartName="/ppt/tags/tag331.xml" ContentType="application/vnd.openxmlformats-officedocument.presentationml.tags+xml"/>
  <Override PartName="/ppt/charts/chart483.xml" ContentType="application/vnd.openxmlformats-officedocument.drawingml.chart+xml"/>
  <Override PartName="/ppt/tags/tag332.xml" ContentType="application/vnd.openxmlformats-officedocument.presentationml.tags+xml"/>
  <Override PartName="/ppt/charts/chart484.xml" ContentType="application/vnd.openxmlformats-officedocument.drawingml.chart+xml"/>
  <Override PartName="/ppt/tags/tag333.xml" ContentType="application/vnd.openxmlformats-officedocument.presentationml.tags+xml"/>
  <Override PartName="/ppt/charts/chart485.xml" ContentType="application/vnd.openxmlformats-officedocument.drawingml.chart+xml"/>
  <Override PartName="/ppt/tags/tag334.xml" ContentType="application/vnd.openxmlformats-officedocument.presentationml.tags+xml"/>
  <Override PartName="/ppt/charts/chart486.xml" ContentType="application/vnd.openxmlformats-officedocument.drawingml.chart+xml"/>
  <Override PartName="/ppt/tags/tag335.xml" ContentType="application/vnd.openxmlformats-officedocument.presentationml.tags+xml"/>
  <Override PartName="/ppt/charts/chart487.xml" ContentType="application/vnd.openxmlformats-officedocument.drawingml.chart+xml"/>
  <Override PartName="/ppt/tags/tag336.xml" ContentType="application/vnd.openxmlformats-officedocument.presentationml.tags+xml"/>
  <Override PartName="/ppt/charts/chart488.xml" ContentType="application/vnd.openxmlformats-officedocument.drawingml.chart+xml"/>
  <Override PartName="/ppt/tags/tag337.xml" ContentType="application/vnd.openxmlformats-officedocument.presentationml.tags+xml"/>
  <Override PartName="/ppt/charts/chart489.xml" ContentType="application/vnd.openxmlformats-officedocument.drawingml.chart+xml"/>
  <Override PartName="/ppt/tags/tag338.xml" ContentType="application/vnd.openxmlformats-officedocument.presentationml.tags+xml"/>
  <Override PartName="/ppt/charts/chart490.xml" ContentType="application/vnd.openxmlformats-officedocument.drawingml.chart+xml"/>
  <Override PartName="/ppt/tags/tag339.xml" ContentType="application/vnd.openxmlformats-officedocument.presentationml.tags+xml"/>
  <Override PartName="/ppt/charts/chart491.xml" ContentType="application/vnd.openxmlformats-officedocument.drawingml.chart+xml"/>
  <Override PartName="/ppt/tags/tag340.xml" ContentType="application/vnd.openxmlformats-officedocument.presentationml.tags+xml"/>
  <Override PartName="/ppt/charts/chart492.xml" ContentType="application/vnd.openxmlformats-officedocument.drawingml.chart+xml"/>
  <Override PartName="/ppt/tags/tag341.xml" ContentType="application/vnd.openxmlformats-officedocument.presentationml.tags+xml"/>
  <Override PartName="/ppt/charts/chart493.xml" ContentType="application/vnd.openxmlformats-officedocument.drawingml.chart+xml"/>
  <Override PartName="/ppt/tags/tag342.xml" ContentType="application/vnd.openxmlformats-officedocument.presentationml.tags+xml"/>
  <Override PartName="/ppt/charts/chart494.xml" ContentType="application/vnd.openxmlformats-officedocument.drawingml.chart+xml"/>
  <Override PartName="/ppt/tags/tag343.xml" ContentType="application/vnd.openxmlformats-officedocument.presentationml.tags+xml"/>
  <Override PartName="/ppt/charts/chart495.xml" ContentType="application/vnd.openxmlformats-officedocument.drawingml.chart+xml"/>
  <Override PartName="/ppt/tags/tag344.xml" ContentType="application/vnd.openxmlformats-officedocument.presentationml.tags+xml"/>
  <Override PartName="/ppt/charts/chart496.xml" ContentType="application/vnd.openxmlformats-officedocument.drawingml.chart+xml"/>
  <Override PartName="/ppt/tags/tag345.xml" ContentType="application/vnd.openxmlformats-officedocument.presentationml.tags+xml"/>
  <Override PartName="/ppt/charts/chart497.xml" ContentType="application/vnd.openxmlformats-officedocument.drawingml.chart+xml"/>
  <Override PartName="/ppt/tags/tag346.xml" ContentType="application/vnd.openxmlformats-officedocument.presentationml.tags+xml"/>
  <Override PartName="/ppt/charts/chart498.xml" ContentType="application/vnd.openxmlformats-officedocument.drawingml.chart+xml"/>
  <Override PartName="/ppt/tags/tag347.xml" ContentType="application/vnd.openxmlformats-officedocument.presentationml.tags+xml"/>
  <Override PartName="/ppt/charts/chart499.xml" ContentType="application/vnd.openxmlformats-officedocument.drawingml.chart+xml"/>
  <Override PartName="/ppt/tags/tag348.xml" ContentType="application/vnd.openxmlformats-officedocument.presentationml.tags+xml"/>
  <Override PartName="/ppt/charts/chart500.xml" ContentType="application/vnd.openxmlformats-officedocument.drawingml.chart+xml"/>
  <Override PartName="/ppt/tags/tag349.xml" ContentType="application/vnd.openxmlformats-officedocument.presentationml.tags+xml"/>
  <Override PartName="/ppt/charts/chart501.xml" ContentType="application/vnd.openxmlformats-officedocument.drawingml.chart+xml"/>
  <Override PartName="/ppt/tags/tag350.xml" ContentType="application/vnd.openxmlformats-officedocument.presentationml.tags+xml"/>
  <Override PartName="/ppt/charts/chart502.xml" ContentType="application/vnd.openxmlformats-officedocument.drawingml.chart+xml"/>
  <Override PartName="/ppt/tags/tag351.xml" ContentType="application/vnd.openxmlformats-officedocument.presentationml.tags+xml"/>
  <Override PartName="/ppt/charts/chart503.xml" ContentType="application/vnd.openxmlformats-officedocument.drawingml.chart+xml"/>
  <Override PartName="/ppt/tags/tag352.xml" ContentType="application/vnd.openxmlformats-officedocument.presentationml.tags+xml"/>
  <Override PartName="/ppt/charts/chart504.xml" ContentType="application/vnd.openxmlformats-officedocument.drawingml.chart+xml"/>
  <Override PartName="/ppt/tags/tag353.xml" ContentType="application/vnd.openxmlformats-officedocument.presentationml.tags+xml"/>
  <Override PartName="/ppt/charts/chart505.xml" ContentType="application/vnd.openxmlformats-officedocument.drawingml.chart+xml"/>
  <Override PartName="/ppt/tags/tag354.xml" ContentType="application/vnd.openxmlformats-officedocument.presentationml.tags+xml"/>
  <Override PartName="/ppt/charts/chart506.xml" ContentType="application/vnd.openxmlformats-officedocument.drawingml.chart+xml"/>
  <Override PartName="/ppt/tags/tag355.xml" ContentType="application/vnd.openxmlformats-officedocument.presentationml.tags+xml"/>
  <Override PartName="/ppt/charts/chart507.xml" ContentType="application/vnd.openxmlformats-officedocument.drawingml.chart+xml"/>
  <Override PartName="/ppt/tags/tag356.xml" ContentType="application/vnd.openxmlformats-officedocument.presentationml.tags+xml"/>
  <Override PartName="/ppt/charts/chart508.xml" ContentType="application/vnd.openxmlformats-officedocument.drawingml.chart+xml"/>
  <Override PartName="/ppt/tags/tag357.xml" ContentType="application/vnd.openxmlformats-officedocument.presentationml.tags+xml"/>
  <Override PartName="/ppt/charts/chart509.xml" ContentType="application/vnd.openxmlformats-officedocument.drawingml.chart+xml"/>
  <Override PartName="/ppt/tags/tag358.xml" ContentType="application/vnd.openxmlformats-officedocument.presentationml.tags+xml"/>
  <Override PartName="/ppt/charts/chart510.xml" ContentType="application/vnd.openxmlformats-officedocument.drawingml.chart+xml"/>
  <Override PartName="/ppt/tags/tag359.xml" ContentType="application/vnd.openxmlformats-officedocument.presentationml.tags+xml"/>
  <Override PartName="/ppt/charts/chart511.xml" ContentType="application/vnd.openxmlformats-officedocument.drawingml.chart+xml"/>
  <Override PartName="/ppt/tags/tag360.xml" ContentType="application/vnd.openxmlformats-officedocument.presentationml.tags+xml"/>
  <Override PartName="/ppt/charts/chart512.xml" ContentType="application/vnd.openxmlformats-officedocument.drawingml.chart+xml"/>
  <Override PartName="/ppt/tags/tag361.xml" ContentType="application/vnd.openxmlformats-officedocument.presentationml.tags+xml"/>
  <Override PartName="/ppt/charts/chart513.xml" ContentType="application/vnd.openxmlformats-officedocument.drawingml.chart+xml"/>
  <Override PartName="/ppt/tags/tag362.xml" ContentType="application/vnd.openxmlformats-officedocument.presentationml.tags+xml"/>
  <Override PartName="/ppt/charts/chart514.xml" ContentType="application/vnd.openxmlformats-officedocument.drawingml.chart+xml"/>
  <Override PartName="/ppt/tags/tag363.xml" ContentType="application/vnd.openxmlformats-officedocument.presentationml.tags+xml"/>
  <Override PartName="/ppt/charts/chart515.xml" ContentType="application/vnd.openxmlformats-officedocument.drawingml.chart+xml"/>
  <Override PartName="/ppt/tags/tag364.xml" ContentType="application/vnd.openxmlformats-officedocument.presentationml.tags+xml"/>
  <Override PartName="/ppt/charts/chart516.xml" ContentType="application/vnd.openxmlformats-officedocument.drawingml.chart+xml"/>
  <Override PartName="/ppt/tags/tag365.xml" ContentType="application/vnd.openxmlformats-officedocument.presentationml.tags+xml"/>
  <Override PartName="/ppt/charts/chart517.xml" ContentType="application/vnd.openxmlformats-officedocument.drawingml.chart+xml"/>
  <Override PartName="/ppt/tags/tag366.xml" ContentType="application/vnd.openxmlformats-officedocument.presentationml.tags+xml"/>
  <Override PartName="/ppt/charts/chart518.xml" ContentType="application/vnd.openxmlformats-officedocument.drawingml.chart+xml"/>
  <Override PartName="/ppt/tags/tag367.xml" ContentType="application/vnd.openxmlformats-officedocument.presentationml.tags+xml"/>
  <Override PartName="/ppt/charts/chart519.xml" ContentType="application/vnd.openxmlformats-officedocument.drawingml.chart+xml"/>
  <Override PartName="/ppt/tags/tag368.xml" ContentType="application/vnd.openxmlformats-officedocument.presentationml.tags+xml"/>
  <Override PartName="/ppt/charts/chart520.xml" ContentType="application/vnd.openxmlformats-officedocument.drawingml.chart+xml"/>
  <Override PartName="/ppt/tags/tag369.xml" ContentType="application/vnd.openxmlformats-officedocument.presentationml.tags+xml"/>
  <Override PartName="/ppt/charts/chart521.xml" ContentType="application/vnd.openxmlformats-officedocument.drawingml.chart+xml"/>
  <Override PartName="/ppt/tags/tag370.xml" ContentType="application/vnd.openxmlformats-officedocument.presentationml.tags+xml"/>
  <Override PartName="/ppt/charts/chart522.xml" ContentType="application/vnd.openxmlformats-officedocument.drawingml.chart+xml"/>
  <Override PartName="/ppt/tags/tag371.xml" ContentType="application/vnd.openxmlformats-officedocument.presentationml.tags+xml"/>
  <Override PartName="/ppt/charts/chart523.xml" ContentType="application/vnd.openxmlformats-officedocument.drawingml.chart+xml"/>
  <Override PartName="/ppt/tags/tag372.xml" ContentType="application/vnd.openxmlformats-officedocument.presentationml.tags+xml"/>
  <Override PartName="/ppt/charts/chart524.xml" ContentType="application/vnd.openxmlformats-officedocument.drawingml.chart+xml"/>
  <Override PartName="/ppt/tags/tag373.xml" ContentType="application/vnd.openxmlformats-officedocument.presentationml.tags+xml"/>
  <Override PartName="/ppt/charts/chart525.xml" ContentType="application/vnd.openxmlformats-officedocument.drawingml.chart+xml"/>
  <Override PartName="/ppt/tags/tag374.xml" ContentType="application/vnd.openxmlformats-officedocument.presentationml.tags+xml"/>
  <Override PartName="/ppt/charts/chart526.xml" ContentType="application/vnd.openxmlformats-officedocument.drawingml.chart+xml"/>
  <Override PartName="/ppt/tags/tag375.xml" ContentType="application/vnd.openxmlformats-officedocument.presentationml.tags+xml"/>
  <Override PartName="/ppt/charts/chart527.xml" ContentType="application/vnd.openxmlformats-officedocument.drawingml.chart+xml"/>
  <Override PartName="/ppt/tags/tag376.xml" ContentType="application/vnd.openxmlformats-officedocument.presentationml.tags+xml"/>
  <Override PartName="/ppt/charts/chart528.xml" ContentType="application/vnd.openxmlformats-officedocument.drawingml.chart+xml"/>
  <Override PartName="/ppt/tags/tag377.xml" ContentType="application/vnd.openxmlformats-officedocument.presentationml.tags+xml"/>
  <Override PartName="/ppt/charts/chart529.xml" ContentType="application/vnd.openxmlformats-officedocument.drawingml.chart+xml"/>
  <Override PartName="/ppt/tags/tag378.xml" ContentType="application/vnd.openxmlformats-officedocument.presentationml.tags+xml"/>
  <Override PartName="/ppt/charts/chart530.xml" ContentType="application/vnd.openxmlformats-officedocument.drawingml.chart+xml"/>
  <Override PartName="/ppt/tags/tag379.xml" ContentType="application/vnd.openxmlformats-officedocument.presentationml.tags+xml"/>
  <Override PartName="/ppt/charts/chart531.xml" ContentType="application/vnd.openxmlformats-officedocument.drawingml.chart+xml"/>
  <Override PartName="/ppt/tags/tag380.xml" ContentType="application/vnd.openxmlformats-officedocument.presentationml.tags+xml"/>
  <Override PartName="/ppt/charts/chart532.xml" ContentType="application/vnd.openxmlformats-officedocument.drawingml.chart+xml"/>
  <Override PartName="/ppt/tags/tag381.xml" ContentType="application/vnd.openxmlformats-officedocument.presentationml.tags+xml"/>
  <Override PartName="/ppt/charts/chart533.xml" ContentType="application/vnd.openxmlformats-officedocument.drawingml.chart+xml"/>
  <Override PartName="/ppt/tags/tag382.xml" ContentType="application/vnd.openxmlformats-officedocument.presentationml.tags+xml"/>
  <Override PartName="/ppt/charts/chart534.xml" ContentType="application/vnd.openxmlformats-officedocument.drawingml.chart+xml"/>
  <Override PartName="/ppt/tags/tag383.xml" ContentType="application/vnd.openxmlformats-officedocument.presentationml.tags+xml"/>
  <Override PartName="/ppt/charts/chart535.xml" ContentType="application/vnd.openxmlformats-officedocument.drawingml.chart+xml"/>
  <Override PartName="/ppt/tags/tag384.xml" ContentType="application/vnd.openxmlformats-officedocument.presentationml.tags+xml"/>
  <Override PartName="/ppt/charts/chart536.xml" ContentType="application/vnd.openxmlformats-officedocument.drawingml.chart+xml"/>
  <Override PartName="/ppt/tags/tag385.xml" ContentType="application/vnd.openxmlformats-officedocument.presentationml.tags+xml"/>
  <Override PartName="/ppt/charts/chart537.xml" ContentType="application/vnd.openxmlformats-officedocument.drawingml.chart+xml"/>
  <Override PartName="/ppt/tags/tag386.xml" ContentType="application/vnd.openxmlformats-officedocument.presentationml.tags+xml"/>
  <Override PartName="/ppt/charts/chart538.xml" ContentType="application/vnd.openxmlformats-officedocument.drawingml.chart+xml"/>
  <Override PartName="/ppt/tags/tag387.xml" ContentType="application/vnd.openxmlformats-officedocument.presentationml.tags+xml"/>
  <Override PartName="/ppt/charts/chart539.xml" ContentType="application/vnd.openxmlformats-officedocument.drawingml.chart+xml"/>
  <Override PartName="/ppt/tags/tag388.xml" ContentType="application/vnd.openxmlformats-officedocument.presentationml.tags+xml"/>
  <Override PartName="/ppt/charts/chart540.xml" ContentType="application/vnd.openxmlformats-officedocument.drawingml.chart+xml"/>
  <Override PartName="/ppt/tags/tag389.xml" ContentType="application/vnd.openxmlformats-officedocument.presentationml.tags+xml"/>
  <Override PartName="/ppt/charts/chart541.xml" ContentType="application/vnd.openxmlformats-officedocument.drawingml.chart+xml"/>
  <Override PartName="/ppt/tags/tag390.xml" ContentType="application/vnd.openxmlformats-officedocument.presentationml.tags+xml"/>
  <Override PartName="/ppt/charts/chart542.xml" ContentType="application/vnd.openxmlformats-officedocument.drawingml.chart+xml"/>
  <Override PartName="/ppt/tags/tag391.xml" ContentType="application/vnd.openxmlformats-officedocument.presentationml.tags+xml"/>
  <Override PartName="/ppt/charts/chart543.xml" ContentType="application/vnd.openxmlformats-officedocument.drawingml.chart+xml"/>
  <Override PartName="/ppt/tags/tag392.xml" ContentType="application/vnd.openxmlformats-officedocument.presentationml.tags+xml"/>
  <Override PartName="/ppt/charts/chart544.xml" ContentType="application/vnd.openxmlformats-officedocument.drawingml.chart+xml"/>
  <Override PartName="/ppt/tags/tag393.xml" ContentType="application/vnd.openxmlformats-officedocument.presentationml.tags+xml"/>
  <Override PartName="/ppt/charts/chart545.xml" ContentType="application/vnd.openxmlformats-officedocument.drawingml.chart+xml"/>
  <Override PartName="/ppt/tags/tag394.xml" ContentType="application/vnd.openxmlformats-officedocument.presentationml.tags+xml"/>
  <Override PartName="/ppt/charts/chart546.xml" ContentType="application/vnd.openxmlformats-officedocument.drawingml.chart+xml"/>
  <Override PartName="/ppt/tags/tag395.xml" ContentType="application/vnd.openxmlformats-officedocument.presentationml.tags+xml"/>
  <Override PartName="/ppt/charts/chart547.xml" ContentType="application/vnd.openxmlformats-officedocument.drawingml.chart+xml"/>
  <Override PartName="/ppt/tags/tag396.xml" ContentType="application/vnd.openxmlformats-officedocument.presentationml.tags+xml"/>
  <Override PartName="/ppt/charts/chart548.xml" ContentType="application/vnd.openxmlformats-officedocument.drawingml.chart+xml"/>
  <Override PartName="/ppt/tags/tag397.xml" ContentType="application/vnd.openxmlformats-officedocument.presentationml.tags+xml"/>
  <Override PartName="/ppt/charts/chart549.xml" ContentType="application/vnd.openxmlformats-officedocument.drawingml.chart+xml"/>
  <Override PartName="/ppt/tags/tag398.xml" ContentType="application/vnd.openxmlformats-officedocument.presentationml.tags+xml"/>
  <Override PartName="/ppt/charts/chart550.xml" ContentType="application/vnd.openxmlformats-officedocument.drawingml.chart+xml"/>
  <Override PartName="/ppt/tags/tag399.xml" ContentType="application/vnd.openxmlformats-officedocument.presentationml.tags+xml"/>
  <Override PartName="/ppt/charts/chart551.xml" ContentType="application/vnd.openxmlformats-officedocument.drawingml.chart+xml"/>
  <Override PartName="/ppt/tags/tag400.xml" ContentType="application/vnd.openxmlformats-officedocument.presentationml.tags+xml"/>
  <Override PartName="/ppt/charts/chart552.xml" ContentType="application/vnd.openxmlformats-officedocument.drawingml.chart+xml"/>
  <Override PartName="/ppt/tags/tag401.xml" ContentType="application/vnd.openxmlformats-officedocument.presentationml.tags+xml"/>
  <Override PartName="/ppt/charts/chart553.xml" ContentType="application/vnd.openxmlformats-officedocument.drawingml.chart+xml"/>
  <Override PartName="/ppt/tags/tag402.xml" ContentType="application/vnd.openxmlformats-officedocument.presentationml.tags+xml"/>
  <Override PartName="/ppt/charts/chart554.xml" ContentType="application/vnd.openxmlformats-officedocument.drawingml.chart+xml"/>
  <Override PartName="/ppt/tags/tag403.xml" ContentType="application/vnd.openxmlformats-officedocument.presentationml.tags+xml"/>
  <Override PartName="/ppt/charts/chart555.xml" ContentType="application/vnd.openxmlformats-officedocument.drawingml.chart+xml"/>
  <Override PartName="/ppt/tags/tag404.xml" ContentType="application/vnd.openxmlformats-officedocument.presentationml.tags+xml"/>
  <Override PartName="/ppt/charts/chart556.xml" ContentType="application/vnd.openxmlformats-officedocument.drawingml.chart+xml"/>
  <Override PartName="/ppt/tags/tag405.xml" ContentType="application/vnd.openxmlformats-officedocument.presentationml.tags+xml"/>
  <Override PartName="/ppt/charts/chart557.xml" ContentType="application/vnd.openxmlformats-officedocument.drawingml.chart+xml"/>
  <Override PartName="/ppt/tags/tag406.xml" ContentType="application/vnd.openxmlformats-officedocument.presentationml.tags+xml"/>
  <Override PartName="/ppt/charts/chart558.xml" ContentType="application/vnd.openxmlformats-officedocument.drawingml.chart+xml"/>
  <Override PartName="/ppt/tags/tag407.xml" ContentType="application/vnd.openxmlformats-officedocument.presentationml.tags+xml"/>
  <Override PartName="/ppt/charts/chart559.xml" ContentType="application/vnd.openxmlformats-officedocument.drawingml.chart+xml"/>
  <Override PartName="/ppt/tags/tag408.xml" ContentType="application/vnd.openxmlformats-officedocument.presentationml.tags+xml"/>
  <Override PartName="/ppt/charts/chart560.xml" ContentType="application/vnd.openxmlformats-officedocument.drawingml.chart+xml"/>
  <Override PartName="/ppt/tags/tag409.xml" ContentType="application/vnd.openxmlformats-officedocument.presentationml.tags+xml"/>
  <Override PartName="/ppt/charts/chart561.xml" ContentType="application/vnd.openxmlformats-officedocument.drawingml.chart+xml"/>
  <Override PartName="/ppt/tags/tag410.xml" ContentType="application/vnd.openxmlformats-officedocument.presentationml.tags+xml"/>
  <Override PartName="/ppt/charts/chart562.xml" ContentType="application/vnd.openxmlformats-officedocument.drawingml.chart+xml"/>
  <Override PartName="/ppt/tags/tag411.xml" ContentType="application/vnd.openxmlformats-officedocument.presentationml.tags+xml"/>
  <Override PartName="/ppt/charts/chart563.xml" ContentType="application/vnd.openxmlformats-officedocument.drawingml.chart+xml"/>
  <Override PartName="/ppt/tags/tag412.xml" ContentType="application/vnd.openxmlformats-officedocument.presentationml.tags+xml"/>
  <Override PartName="/ppt/charts/chart564.xml" ContentType="application/vnd.openxmlformats-officedocument.drawingml.chart+xml"/>
  <Override PartName="/ppt/tags/tag413.xml" ContentType="application/vnd.openxmlformats-officedocument.presentationml.tags+xml"/>
  <Override PartName="/ppt/charts/chart565.xml" ContentType="application/vnd.openxmlformats-officedocument.drawingml.chart+xml"/>
  <Override PartName="/ppt/tags/tag414.xml" ContentType="application/vnd.openxmlformats-officedocument.presentationml.tags+xml"/>
  <Override PartName="/ppt/charts/chart566.xml" ContentType="application/vnd.openxmlformats-officedocument.drawingml.chart+xml"/>
  <Override PartName="/ppt/tags/tag415.xml" ContentType="application/vnd.openxmlformats-officedocument.presentationml.tags+xml"/>
  <Override PartName="/ppt/charts/chart567.xml" ContentType="application/vnd.openxmlformats-officedocument.drawingml.chart+xml"/>
  <Override PartName="/ppt/tags/tag416.xml" ContentType="application/vnd.openxmlformats-officedocument.presentationml.tags+xml"/>
  <Override PartName="/ppt/charts/chart568.xml" ContentType="application/vnd.openxmlformats-officedocument.drawingml.chart+xml"/>
  <Override PartName="/ppt/tags/tag417.xml" ContentType="application/vnd.openxmlformats-officedocument.presentationml.tags+xml"/>
  <Override PartName="/ppt/charts/chart569.xml" ContentType="application/vnd.openxmlformats-officedocument.drawingml.chart+xml"/>
  <Override PartName="/ppt/tags/tag418.xml" ContentType="application/vnd.openxmlformats-officedocument.presentationml.tags+xml"/>
  <Override PartName="/ppt/charts/chart570.xml" ContentType="application/vnd.openxmlformats-officedocument.drawingml.chart+xml"/>
  <Override PartName="/ppt/tags/tag419.xml" ContentType="application/vnd.openxmlformats-officedocument.presentationml.tags+xml"/>
  <Override PartName="/ppt/charts/chart571.xml" ContentType="application/vnd.openxmlformats-officedocument.drawingml.chart+xml"/>
  <Override PartName="/ppt/tags/tag420.xml" ContentType="application/vnd.openxmlformats-officedocument.presentationml.tags+xml"/>
  <Override PartName="/ppt/charts/chart572.xml" ContentType="application/vnd.openxmlformats-officedocument.drawingml.chart+xml"/>
  <Override PartName="/ppt/tags/tag421.xml" ContentType="application/vnd.openxmlformats-officedocument.presentationml.tags+xml"/>
  <Override PartName="/ppt/charts/chart573.xml" ContentType="application/vnd.openxmlformats-officedocument.drawingml.chart+xml"/>
  <Override PartName="/ppt/tags/tag422.xml" ContentType="application/vnd.openxmlformats-officedocument.presentationml.tags+xml"/>
  <Override PartName="/ppt/charts/chart574.xml" ContentType="application/vnd.openxmlformats-officedocument.drawingml.chart+xml"/>
  <Override PartName="/ppt/tags/tag423.xml" ContentType="application/vnd.openxmlformats-officedocument.presentationml.tags+xml"/>
  <Override PartName="/ppt/charts/chart575.xml" ContentType="application/vnd.openxmlformats-officedocument.drawingml.chart+xml"/>
  <Override PartName="/ppt/tags/tag424.xml" ContentType="application/vnd.openxmlformats-officedocument.presentationml.tags+xml"/>
  <Override PartName="/ppt/charts/chart576.xml" ContentType="application/vnd.openxmlformats-officedocument.drawingml.chart+xml"/>
  <Override PartName="/ppt/tags/tag425.xml" ContentType="application/vnd.openxmlformats-officedocument.presentationml.tags+xml"/>
  <Override PartName="/ppt/charts/chart577.xml" ContentType="application/vnd.openxmlformats-officedocument.drawingml.chart+xml"/>
  <Override PartName="/ppt/tags/tag426.xml" ContentType="application/vnd.openxmlformats-officedocument.presentationml.tags+xml"/>
  <Override PartName="/ppt/charts/chart578.xml" ContentType="application/vnd.openxmlformats-officedocument.drawingml.chart+xml"/>
  <Override PartName="/ppt/tags/tag427.xml" ContentType="application/vnd.openxmlformats-officedocument.presentationml.tags+xml"/>
  <Override PartName="/ppt/charts/chart579.xml" ContentType="application/vnd.openxmlformats-officedocument.drawingml.chart+xml"/>
  <Override PartName="/ppt/tags/tag428.xml" ContentType="application/vnd.openxmlformats-officedocument.presentationml.tags+xml"/>
  <Override PartName="/ppt/charts/chart580.xml" ContentType="application/vnd.openxmlformats-officedocument.drawingml.chart+xml"/>
  <Override PartName="/ppt/tags/tag429.xml" ContentType="application/vnd.openxmlformats-officedocument.presentationml.tags+xml"/>
  <Override PartName="/ppt/charts/chart581.xml" ContentType="application/vnd.openxmlformats-officedocument.drawingml.chart+xml"/>
  <Override PartName="/ppt/tags/tag430.xml" ContentType="application/vnd.openxmlformats-officedocument.presentationml.tags+xml"/>
  <Override PartName="/ppt/charts/chart582.xml" ContentType="application/vnd.openxmlformats-officedocument.drawingml.chart+xml"/>
  <Override PartName="/ppt/tags/tag431.xml" ContentType="application/vnd.openxmlformats-officedocument.presentationml.tags+xml"/>
  <Override PartName="/ppt/charts/chart583.xml" ContentType="application/vnd.openxmlformats-officedocument.drawingml.chart+xml"/>
  <Override PartName="/ppt/tags/tag432.xml" ContentType="application/vnd.openxmlformats-officedocument.presentationml.tags+xml"/>
  <Override PartName="/ppt/charts/chart584.xml" ContentType="application/vnd.openxmlformats-officedocument.drawingml.chart+xml"/>
  <Override PartName="/ppt/tags/tag433.xml" ContentType="application/vnd.openxmlformats-officedocument.presentationml.tags+xml"/>
  <Override PartName="/ppt/charts/chart585.xml" ContentType="application/vnd.openxmlformats-officedocument.drawingml.chart+xml"/>
  <Override PartName="/ppt/tags/tag434.xml" ContentType="application/vnd.openxmlformats-officedocument.presentationml.tags+xml"/>
  <Override PartName="/ppt/charts/chart586.xml" ContentType="application/vnd.openxmlformats-officedocument.drawingml.chart+xml"/>
  <Override PartName="/ppt/tags/tag435.xml" ContentType="application/vnd.openxmlformats-officedocument.presentationml.tags+xml"/>
  <Override PartName="/ppt/charts/chart587.xml" ContentType="application/vnd.openxmlformats-officedocument.drawingml.chart+xml"/>
  <Override PartName="/ppt/tags/tag436.xml" ContentType="application/vnd.openxmlformats-officedocument.presentationml.tags+xml"/>
  <Override PartName="/ppt/charts/chart588.xml" ContentType="application/vnd.openxmlformats-officedocument.drawingml.chart+xml"/>
  <Override PartName="/ppt/tags/tag437.xml" ContentType="application/vnd.openxmlformats-officedocument.presentationml.tags+xml"/>
  <Override PartName="/ppt/charts/chart589.xml" ContentType="application/vnd.openxmlformats-officedocument.drawingml.chart+xml"/>
  <Override PartName="/ppt/tags/tag438.xml" ContentType="application/vnd.openxmlformats-officedocument.presentationml.tags+xml"/>
  <Override PartName="/ppt/charts/chart590.xml" ContentType="application/vnd.openxmlformats-officedocument.drawingml.chart+xml"/>
  <Override PartName="/ppt/tags/tag439.xml" ContentType="application/vnd.openxmlformats-officedocument.presentationml.tags+xml"/>
  <Override PartName="/ppt/charts/chart591.xml" ContentType="application/vnd.openxmlformats-officedocument.drawingml.chart+xml"/>
  <Override PartName="/ppt/tags/tag440.xml" ContentType="application/vnd.openxmlformats-officedocument.presentationml.tags+xml"/>
  <Override PartName="/ppt/charts/chart592.xml" ContentType="application/vnd.openxmlformats-officedocument.drawingml.chart+xml"/>
  <Override PartName="/ppt/tags/tag441.xml" ContentType="application/vnd.openxmlformats-officedocument.presentationml.tags+xml"/>
  <Override PartName="/ppt/charts/chart593.xml" ContentType="application/vnd.openxmlformats-officedocument.drawingml.chart+xml"/>
  <Override PartName="/ppt/tags/tag442.xml" ContentType="application/vnd.openxmlformats-officedocument.presentationml.tags+xml"/>
  <Override PartName="/ppt/charts/chart594.xml" ContentType="application/vnd.openxmlformats-officedocument.drawingml.chart+xml"/>
  <Override PartName="/ppt/tags/tag443.xml" ContentType="application/vnd.openxmlformats-officedocument.presentationml.tags+xml"/>
  <Override PartName="/ppt/charts/chart595.xml" ContentType="application/vnd.openxmlformats-officedocument.drawingml.chart+xml"/>
  <Override PartName="/ppt/tags/tag444.xml" ContentType="application/vnd.openxmlformats-officedocument.presentationml.tags+xml"/>
  <Override PartName="/ppt/charts/chart596.xml" ContentType="application/vnd.openxmlformats-officedocument.drawingml.chart+xml"/>
  <Override PartName="/ppt/tags/tag445.xml" ContentType="application/vnd.openxmlformats-officedocument.presentationml.tags+xml"/>
  <Override PartName="/ppt/charts/chart597.xml" ContentType="application/vnd.openxmlformats-officedocument.drawingml.chart+xml"/>
  <Override PartName="/ppt/tags/tag446.xml" ContentType="application/vnd.openxmlformats-officedocument.presentationml.tags+xml"/>
  <Override PartName="/ppt/charts/chart598.xml" ContentType="application/vnd.openxmlformats-officedocument.drawingml.chart+xml"/>
  <Override PartName="/ppt/tags/tag447.xml" ContentType="application/vnd.openxmlformats-officedocument.presentationml.tags+xml"/>
  <Override PartName="/ppt/charts/chart599.xml" ContentType="application/vnd.openxmlformats-officedocument.drawingml.chart+xml"/>
  <Override PartName="/ppt/tags/tag448.xml" ContentType="application/vnd.openxmlformats-officedocument.presentationml.tags+xml"/>
  <Override PartName="/ppt/charts/chart600.xml" ContentType="application/vnd.openxmlformats-officedocument.drawingml.chart+xml"/>
  <Override PartName="/ppt/tags/tag449.xml" ContentType="application/vnd.openxmlformats-officedocument.presentationml.tags+xml"/>
  <Override PartName="/ppt/charts/chart601.xml" ContentType="application/vnd.openxmlformats-officedocument.drawingml.chart+xml"/>
  <Override PartName="/ppt/tags/tag450.xml" ContentType="application/vnd.openxmlformats-officedocument.presentationml.tags+xml"/>
  <Override PartName="/ppt/charts/chart602.xml" ContentType="application/vnd.openxmlformats-officedocument.drawingml.chart+xml"/>
  <Override PartName="/ppt/tags/tag451.xml" ContentType="application/vnd.openxmlformats-officedocument.presentationml.tags+xml"/>
  <Override PartName="/ppt/charts/chart603.xml" ContentType="application/vnd.openxmlformats-officedocument.drawingml.chart+xml"/>
  <Override PartName="/ppt/tags/tag452.xml" ContentType="application/vnd.openxmlformats-officedocument.presentationml.tags+xml"/>
  <Override PartName="/ppt/charts/chart604.xml" ContentType="application/vnd.openxmlformats-officedocument.drawingml.chart+xml"/>
  <Override PartName="/ppt/tags/tag453.xml" ContentType="application/vnd.openxmlformats-officedocument.presentationml.tags+xml"/>
  <Override PartName="/ppt/charts/chart605.xml" ContentType="application/vnd.openxmlformats-officedocument.drawingml.chart+xml"/>
  <Override PartName="/ppt/tags/tag454.xml" ContentType="application/vnd.openxmlformats-officedocument.presentationml.tags+xml"/>
  <Override PartName="/ppt/charts/chart606.xml" ContentType="application/vnd.openxmlformats-officedocument.drawingml.chart+xml"/>
  <Override PartName="/ppt/tags/tag455.xml" ContentType="application/vnd.openxmlformats-officedocument.presentationml.tags+xml"/>
  <Override PartName="/ppt/charts/chart607.xml" ContentType="application/vnd.openxmlformats-officedocument.drawingml.chart+xml"/>
  <Override PartName="/ppt/tags/tag456.xml" ContentType="application/vnd.openxmlformats-officedocument.presentationml.tags+xml"/>
  <Override PartName="/ppt/charts/chart608.xml" ContentType="application/vnd.openxmlformats-officedocument.drawingml.chart+xml"/>
  <Override PartName="/ppt/tags/tag457.xml" ContentType="application/vnd.openxmlformats-officedocument.presentationml.tags+xml"/>
  <Override PartName="/ppt/charts/chart609.xml" ContentType="application/vnd.openxmlformats-officedocument.drawingml.chart+xml"/>
  <Override PartName="/ppt/tags/tag458.xml" ContentType="application/vnd.openxmlformats-officedocument.presentationml.tags+xml"/>
  <Override PartName="/ppt/charts/chart610.xml" ContentType="application/vnd.openxmlformats-officedocument.drawingml.chart+xml"/>
  <Override PartName="/ppt/tags/tag459.xml" ContentType="application/vnd.openxmlformats-officedocument.presentationml.tags+xml"/>
  <Override PartName="/ppt/charts/chart611.xml" ContentType="application/vnd.openxmlformats-officedocument.drawingml.chart+xml"/>
  <Override PartName="/ppt/tags/tag460.xml" ContentType="application/vnd.openxmlformats-officedocument.presentationml.tags+xml"/>
  <Override PartName="/ppt/charts/chart612.xml" ContentType="application/vnd.openxmlformats-officedocument.drawingml.chart+xml"/>
  <Override PartName="/ppt/tags/tag461.xml" ContentType="application/vnd.openxmlformats-officedocument.presentationml.tags+xml"/>
  <Override PartName="/ppt/charts/chart613.xml" ContentType="application/vnd.openxmlformats-officedocument.drawingml.chart+xml"/>
  <Override PartName="/ppt/tags/tag462.xml" ContentType="application/vnd.openxmlformats-officedocument.presentationml.tags+xml"/>
  <Override PartName="/ppt/charts/chart614.xml" ContentType="application/vnd.openxmlformats-officedocument.drawingml.chart+xml"/>
  <Override PartName="/ppt/tags/tag463.xml" ContentType="application/vnd.openxmlformats-officedocument.presentationml.tags+xml"/>
  <Override PartName="/ppt/charts/chart615.xml" ContentType="application/vnd.openxmlformats-officedocument.drawingml.chart+xml"/>
  <Override PartName="/ppt/tags/tag464.xml" ContentType="application/vnd.openxmlformats-officedocument.presentationml.tags+xml"/>
  <Override PartName="/ppt/charts/chart616.xml" ContentType="application/vnd.openxmlformats-officedocument.drawingml.chart+xml"/>
  <Override PartName="/ppt/tags/tag465.xml" ContentType="application/vnd.openxmlformats-officedocument.presentationml.tags+xml"/>
  <Override PartName="/ppt/charts/chart617.xml" ContentType="application/vnd.openxmlformats-officedocument.drawingml.chart+xml"/>
  <Override PartName="/ppt/tags/tag466.xml" ContentType="application/vnd.openxmlformats-officedocument.presentationml.tags+xml"/>
  <Override PartName="/ppt/charts/chart618.xml" ContentType="application/vnd.openxmlformats-officedocument.drawingml.chart+xml"/>
  <Override PartName="/ppt/tags/tag467.xml" ContentType="application/vnd.openxmlformats-officedocument.presentationml.tags+xml"/>
  <Override PartName="/ppt/charts/chart619.xml" ContentType="application/vnd.openxmlformats-officedocument.drawingml.chart+xml"/>
  <Override PartName="/ppt/tags/tag468.xml" ContentType="application/vnd.openxmlformats-officedocument.presentationml.tags+xml"/>
  <Override PartName="/ppt/charts/chart620.xml" ContentType="application/vnd.openxmlformats-officedocument.drawingml.chart+xml"/>
  <Override PartName="/ppt/tags/tag469.xml" ContentType="application/vnd.openxmlformats-officedocument.presentationml.tags+xml"/>
  <Override PartName="/ppt/charts/chart621.xml" ContentType="application/vnd.openxmlformats-officedocument.drawingml.chart+xml"/>
  <Override PartName="/ppt/tags/tag470.xml" ContentType="application/vnd.openxmlformats-officedocument.presentationml.tags+xml"/>
  <Override PartName="/ppt/charts/chart622.xml" ContentType="application/vnd.openxmlformats-officedocument.drawingml.chart+xml"/>
  <Override PartName="/ppt/tags/tag471.xml" ContentType="application/vnd.openxmlformats-officedocument.presentationml.tags+xml"/>
  <Override PartName="/ppt/charts/chart623.xml" ContentType="application/vnd.openxmlformats-officedocument.drawingml.chart+xml"/>
  <Override PartName="/ppt/tags/tag472.xml" ContentType="application/vnd.openxmlformats-officedocument.presentationml.tags+xml"/>
  <Override PartName="/ppt/charts/chart624.xml" ContentType="application/vnd.openxmlformats-officedocument.drawingml.chart+xml"/>
  <Override PartName="/ppt/tags/tag473.xml" ContentType="application/vnd.openxmlformats-officedocument.presentationml.tags+xml"/>
  <Override PartName="/ppt/charts/chart625.xml" ContentType="application/vnd.openxmlformats-officedocument.drawingml.chart+xml"/>
  <Override PartName="/ppt/tags/tag474.xml" ContentType="application/vnd.openxmlformats-officedocument.presentationml.tags+xml"/>
  <Override PartName="/ppt/charts/chart626.xml" ContentType="application/vnd.openxmlformats-officedocument.drawingml.chart+xml"/>
  <Override PartName="/ppt/tags/tag475.xml" ContentType="application/vnd.openxmlformats-officedocument.presentationml.tags+xml"/>
  <Override PartName="/ppt/charts/chart627.xml" ContentType="application/vnd.openxmlformats-officedocument.drawingml.chart+xml"/>
  <Override PartName="/ppt/tags/tag476.xml" ContentType="application/vnd.openxmlformats-officedocument.presentationml.tags+xml"/>
  <Override PartName="/ppt/charts/chart628.xml" ContentType="application/vnd.openxmlformats-officedocument.drawingml.chart+xml"/>
  <Override PartName="/ppt/tags/tag477.xml" ContentType="application/vnd.openxmlformats-officedocument.presentationml.tags+xml"/>
  <Override PartName="/ppt/charts/chart629.xml" ContentType="application/vnd.openxmlformats-officedocument.drawingml.chart+xml"/>
  <Override PartName="/ppt/tags/tag478.xml" ContentType="application/vnd.openxmlformats-officedocument.presentationml.tags+xml"/>
  <Override PartName="/ppt/charts/chart630.xml" ContentType="application/vnd.openxmlformats-officedocument.drawingml.chart+xml"/>
  <Override PartName="/ppt/tags/tag479.xml" ContentType="application/vnd.openxmlformats-officedocument.presentationml.tags+xml"/>
  <Override PartName="/ppt/charts/chart631.xml" ContentType="application/vnd.openxmlformats-officedocument.drawingml.chart+xml"/>
  <Override PartName="/ppt/tags/tag480.xml" ContentType="application/vnd.openxmlformats-officedocument.presentationml.tags+xml"/>
  <Override PartName="/ppt/charts/chart632.xml" ContentType="application/vnd.openxmlformats-officedocument.drawingml.chart+xml"/>
  <Override PartName="/ppt/tags/tag481.xml" ContentType="application/vnd.openxmlformats-officedocument.presentationml.tags+xml"/>
  <Override PartName="/ppt/charts/chart633.xml" ContentType="application/vnd.openxmlformats-officedocument.drawingml.chart+xml"/>
  <Override PartName="/ppt/tags/tag482.xml" ContentType="application/vnd.openxmlformats-officedocument.presentationml.tags+xml"/>
  <Override PartName="/ppt/charts/chart634.xml" ContentType="application/vnd.openxmlformats-officedocument.drawingml.chart+xml"/>
  <Override PartName="/ppt/tags/tag483.xml" ContentType="application/vnd.openxmlformats-officedocument.presentationml.tags+xml"/>
  <Override PartName="/ppt/charts/chart635.xml" ContentType="application/vnd.openxmlformats-officedocument.drawingml.chart+xml"/>
  <Override PartName="/ppt/tags/tag484.xml" ContentType="application/vnd.openxmlformats-officedocument.presentationml.tags+xml"/>
  <Override PartName="/ppt/charts/chart636.xml" ContentType="application/vnd.openxmlformats-officedocument.drawingml.chart+xml"/>
  <Override PartName="/ppt/tags/tag485.xml" ContentType="application/vnd.openxmlformats-officedocument.presentationml.tags+xml"/>
  <Override PartName="/ppt/charts/chart637.xml" ContentType="application/vnd.openxmlformats-officedocument.drawingml.chart+xml"/>
  <Override PartName="/ppt/tags/tag486.xml" ContentType="application/vnd.openxmlformats-officedocument.presentationml.tags+xml"/>
  <Override PartName="/ppt/charts/chart638.xml" ContentType="application/vnd.openxmlformats-officedocument.drawingml.chart+xml"/>
  <Override PartName="/ppt/tags/tag487.xml" ContentType="application/vnd.openxmlformats-officedocument.presentationml.tags+xml"/>
  <Override PartName="/ppt/charts/chart639.xml" ContentType="application/vnd.openxmlformats-officedocument.drawingml.chart+xml"/>
  <Override PartName="/ppt/tags/tag488.xml" ContentType="application/vnd.openxmlformats-officedocument.presentationml.tags+xml"/>
  <Override PartName="/ppt/charts/chart640.xml" ContentType="application/vnd.openxmlformats-officedocument.drawingml.chart+xml"/>
  <Override PartName="/ppt/tags/tag489.xml" ContentType="application/vnd.openxmlformats-officedocument.presentationml.tags+xml"/>
  <Override PartName="/ppt/charts/chart641.xml" ContentType="application/vnd.openxmlformats-officedocument.drawingml.chart+xml"/>
  <Override PartName="/ppt/tags/tag490.xml" ContentType="application/vnd.openxmlformats-officedocument.presentationml.tags+xml"/>
  <Override PartName="/ppt/charts/chart642.xml" ContentType="application/vnd.openxmlformats-officedocument.drawingml.chart+xml"/>
  <Override PartName="/ppt/tags/tag491.xml" ContentType="application/vnd.openxmlformats-officedocument.presentationml.tags+xml"/>
  <Override PartName="/ppt/charts/chart643.xml" ContentType="application/vnd.openxmlformats-officedocument.drawingml.chart+xml"/>
  <Override PartName="/ppt/tags/tag492.xml" ContentType="application/vnd.openxmlformats-officedocument.presentationml.tags+xml"/>
  <Override PartName="/ppt/charts/chart644.xml" ContentType="application/vnd.openxmlformats-officedocument.drawingml.chart+xml"/>
  <Override PartName="/ppt/tags/tag493.xml" ContentType="application/vnd.openxmlformats-officedocument.presentationml.tags+xml"/>
  <Override PartName="/ppt/charts/chart645.xml" ContentType="application/vnd.openxmlformats-officedocument.drawingml.chart+xml"/>
  <Override PartName="/ppt/tags/tag494.xml" ContentType="application/vnd.openxmlformats-officedocument.presentationml.tags+xml"/>
  <Override PartName="/ppt/charts/chart646.xml" ContentType="application/vnd.openxmlformats-officedocument.drawingml.chart+xml"/>
  <Override PartName="/ppt/tags/tag495.xml" ContentType="application/vnd.openxmlformats-officedocument.presentationml.tags+xml"/>
  <Override PartName="/ppt/charts/chart647.xml" ContentType="application/vnd.openxmlformats-officedocument.drawingml.chart+xml"/>
  <Override PartName="/ppt/tags/tag496.xml" ContentType="application/vnd.openxmlformats-officedocument.presentationml.tags+xml"/>
  <Override PartName="/ppt/charts/chart648.xml" ContentType="application/vnd.openxmlformats-officedocument.drawingml.chart+xml"/>
  <Override PartName="/ppt/tags/tag497.xml" ContentType="application/vnd.openxmlformats-officedocument.presentationml.tags+xml"/>
  <Override PartName="/ppt/charts/chart649.xml" ContentType="application/vnd.openxmlformats-officedocument.drawingml.chart+xml"/>
  <Override PartName="/ppt/tags/tag498.xml" ContentType="application/vnd.openxmlformats-officedocument.presentationml.tags+xml"/>
  <Override PartName="/ppt/charts/chart650.xml" ContentType="application/vnd.openxmlformats-officedocument.drawingml.chart+xml"/>
  <Override PartName="/ppt/tags/tag499.xml" ContentType="application/vnd.openxmlformats-officedocument.presentationml.tags+xml"/>
  <Override PartName="/ppt/charts/chart651.xml" ContentType="application/vnd.openxmlformats-officedocument.drawingml.chart+xml"/>
  <Override PartName="/ppt/tags/tag500.xml" ContentType="application/vnd.openxmlformats-officedocument.presentationml.tags+xml"/>
  <Override PartName="/ppt/charts/chart652.xml" ContentType="application/vnd.openxmlformats-officedocument.drawingml.chart+xml"/>
  <Override PartName="/ppt/tags/tag501.xml" ContentType="application/vnd.openxmlformats-officedocument.presentationml.tags+xml"/>
  <Override PartName="/ppt/charts/chart653.xml" ContentType="application/vnd.openxmlformats-officedocument.drawingml.chart+xml"/>
  <Override PartName="/ppt/tags/tag502.xml" ContentType="application/vnd.openxmlformats-officedocument.presentationml.tags+xml"/>
  <Override PartName="/ppt/charts/chart654.xml" ContentType="application/vnd.openxmlformats-officedocument.drawingml.chart+xml"/>
  <Override PartName="/ppt/tags/tag503.xml" ContentType="application/vnd.openxmlformats-officedocument.presentationml.tags+xml"/>
  <Override PartName="/ppt/charts/chart655.xml" ContentType="application/vnd.openxmlformats-officedocument.drawingml.chart+xml"/>
  <Override PartName="/ppt/tags/tag504.xml" ContentType="application/vnd.openxmlformats-officedocument.presentationml.tags+xml"/>
  <Override PartName="/ppt/charts/chart656.xml" ContentType="application/vnd.openxmlformats-officedocument.drawingml.chart+xml"/>
  <Override PartName="/ppt/tags/tag505.xml" ContentType="application/vnd.openxmlformats-officedocument.presentationml.tags+xml"/>
  <Override PartName="/ppt/charts/chart657.xml" ContentType="application/vnd.openxmlformats-officedocument.drawingml.chart+xml"/>
  <Override PartName="/ppt/tags/tag506.xml" ContentType="application/vnd.openxmlformats-officedocument.presentationml.tags+xml"/>
  <Override PartName="/ppt/charts/chart658.xml" ContentType="application/vnd.openxmlformats-officedocument.drawingml.chart+xml"/>
  <Override PartName="/ppt/tags/tag507.xml" ContentType="application/vnd.openxmlformats-officedocument.presentationml.tags+xml"/>
  <Override PartName="/ppt/charts/chart659.xml" ContentType="application/vnd.openxmlformats-officedocument.drawingml.chart+xml"/>
  <Override PartName="/ppt/tags/tag508.xml" ContentType="application/vnd.openxmlformats-officedocument.presentationml.tags+xml"/>
  <Override PartName="/ppt/charts/chart660.xml" ContentType="application/vnd.openxmlformats-officedocument.drawingml.chart+xml"/>
  <Override PartName="/ppt/tags/tag509.xml" ContentType="application/vnd.openxmlformats-officedocument.presentationml.tags+xml"/>
  <Override PartName="/ppt/charts/chart661.xml" ContentType="application/vnd.openxmlformats-officedocument.drawingml.chart+xml"/>
  <Override PartName="/ppt/tags/tag510.xml" ContentType="application/vnd.openxmlformats-officedocument.presentationml.tags+xml"/>
  <Override PartName="/ppt/charts/chart662.xml" ContentType="application/vnd.openxmlformats-officedocument.drawingml.chart+xml"/>
  <Override PartName="/ppt/tags/tag511.xml" ContentType="application/vnd.openxmlformats-officedocument.presentationml.tags+xml"/>
  <Override PartName="/ppt/charts/chart663.xml" ContentType="application/vnd.openxmlformats-officedocument.drawingml.chart+xml"/>
  <Override PartName="/ppt/tags/tag512.xml" ContentType="application/vnd.openxmlformats-officedocument.presentationml.tags+xml"/>
  <Override PartName="/ppt/charts/chart664.xml" ContentType="application/vnd.openxmlformats-officedocument.drawingml.chart+xml"/>
  <Override PartName="/ppt/tags/tag513.xml" ContentType="application/vnd.openxmlformats-officedocument.presentationml.tags+xml"/>
  <Override PartName="/ppt/charts/chart665.xml" ContentType="application/vnd.openxmlformats-officedocument.drawingml.chart+xml"/>
  <Override PartName="/ppt/tags/tag514.xml" ContentType="application/vnd.openxmlformats-officedocument.presentationml.tags+xml"/>
  <Override PartName="/ppt/charts/chart666.xml" ContentType="application/vnd.openxmlformats-officedocument.drawingml.chart+xml"/>
  <Override PartName="/ppt/tags/tag515.xml" ContentType="application/vnd.openxmlformats-officedocument.presentationml.tags+xml"/>
  <Override PartName="/ppt/charts/chart667.xml" ContentType="application/vnd.openxmlformats-officedocument.drawingml.chart+xml"/>
  <Override PartName="/ppt/tags/tag516.xml" ContentType="application/vnd.openxmlformats-officedocument.presentationml.tags+xml"/>
  <Override PartName="/ppt/charts/chart668.xml" ContentType="application/vnd.openxmlformats-officedocument.drawingml.chart+xml"/>
  <Override PartName="/ppt/tags/tag517.xml" ContentType="application/vnd.openxmlformats-officedocument.presentationml.tags+xml"/>
  <Override PartName="/ppt/charts/chart669.xml" ContentType="application/vnd.openxmlformats-officedocument.drawingml.chart+xml"/>
  <Override PartName="/ppt/tags/tag518.xml" ContentType="application/vnd.openxmlformats-officedocument.presentationml.tags+xml"/>
  <Override PartName="/ppt/charts/chart670.xml" ContentType="application/vnd.openxmlformats-officedocument.drawingml.chart+xml"/>
  <Override PartName="/ppt/tags/tag519.xml" ContentType="application/vnd.openxmlformats-officedocument.presentationml.tags+xml"/>
  <Override PartName="/ppt/charts/chart671.xml" ContentType="application/vnd.openxmlformats-officedocument.drawingml.chart+xml"/>
  <Override PartName="/ppt/tags/tag520.xml" ContentType="application/vnd.openxmlformats-officedocument.presentationml.tags+xml"/>
  <Override PartName="/ppt/charts/chart672.xml" ContentType="application/vnd.openxmlformats-officedocument.drawingml.chart+xml"/>
  <Override PartName="/ppt/tags/tag521.xml" ContentType="application/vnd.openxmlformats-officedocument.presentationml.tags+xml"/>
  <Override PartName="/ppt/charts/chart673.xml" ContentType="application/vnd.openxmlformats-officedocument.drawingml.chart+xml"/>
  <Override PartName="/ppt/tags/tag522.xml" ContentType="application/vnd.openxmlformats-officedocument.presentationml.tags+xml"/>
  <Override PartName="/ppt/charts/chart674.xml" ContentType="application/vnd.openxmlformats-officedocument.drawingml.chart+xml"/>
  <Override PartName="/ppt/tags/tag523.xml" ContentType="application/vnd.openxmlformats-officedocument.presentationml.tags+xml"/>
  <Override PartName="/ppt/charts/chart675.xml" ContentType="application/vnd.openxmlformats-officedocument.drawingml.chart+xml"/>
  <Override PartName="/ppt/tags/tag524.xml" ContentType="application/vnd.openxmlformats-officedocument.presentationml.tags+xml"/>
  <Override PartName="/ppt/charts/chart676.xml" ContentType="application/vnd.openxmlformats-officedocument.drawingml.chart+xml"/>
  <Override PartName="/ppt/tags/tag525.xml" ContentType="application/vnd.openxmlformats-officedocument.presentationml.tags+xml"/>
  <Override PartName="/ppt/charts/chart677.xml" ContentType="application/vnd.openxmlformats-officedocument.drawingml.chart+xml"/>
  <Override PartName="/ppt/tags/tag526.xml" ContentType="application/vnd.openxmlformats-officedocument.presentationml.tags+xml"/>
  <Override PartName="/ppt/charts/chart678.xml" ContentType="application/vnd.openxmlformats-officedocument.drawingml.chart+xml"/>
  <Override PartName="/ppt/tags/tag527.xml" ContentType="application/vnd.openxmlformats-officedocument.presentationml.tags+xml"/>
  <Override PartName="/ppt/charts/chart679.xml" ContentType="application/vnd.openxmlformats-officedocument.drawingml.chart+xml"/>
  <Override PartName="/ppt/tags/tag528.xml" ContentType="application/vnd.openxmlformats-officedocument.presentationml.tags+xml"/>
  <Override PartName="/ppt/charts/chart680.xml" ContentType="application/vnd.openxmlformats-officedocument.drawingml.chart+xml"/>
  <Override PartName="/ppt/tags/tag529.xml" ContentType="application/vnd.openxmlformats-officedocument.presentationml.tags+xml"/>
  <Override PartName="/ppt/charts/chart681.xml" ContentType="application/vnd.openxmlformats-officedocument.drawingml.chart+xml"/>
  <Override PartName="/ppt/tags/tag530.xml" ContentType="application/vnd.openxmlformats-officedocument.presentationml.tags+xml"/>
  <Override PartName="/ppt/charts/chart682.xml" ContentType="application/vnd.openxmlformats-officedocument.drawingml.chart+xml"/>
  <Override PartName="/ppt/tags/tag531.xml" ContentType="application/vnd.openxmlformats-officedocument.presentationml.tags+xml"/>
  <Override PartName="/ppt/charts/chart683.xml" ContentType="application/vnd.openxmlformats-officedocument.drawingml.chart+xml"/>
  <Override PartName="/ppt/tags/tag532.xml" ContentType="application/vnd.openxmlformats-officedocument.presentationml.tags+xml"/>
  <Override PartName="/ppt/charts/chart684.xml" ContentType="application/vnd.openxmlformats-officedocument.drawingml.chart+xml"/>
  <Override PartName="/ppt/tags/tag533.xml" ContentType="application/vnd.openxmlformats-officedocument.presentationml.tags+xml"/>
  <Override PartName="/ppt/charts/chart685.xml" ContentType="application/vnd.openxmlformats-officedocument.drawingml.chart+xml"/>
  <Override PartName="/ppt/tags/tag534.xml" ContentType="application/vnd.openxmlformats-officedocument.presentationml.tags+xml"/>
  <Override PartName="/ppt/charts/chart686.xml" ContentType="application/vnd.openxmlformats-officedocument.drawingml.chart+xml"/>
  <Override PartName="/ppt/tags/tag535.xml" ContentType="application/vnd.openxmlformats-officedocument.presentationml.tags+xml"/>
  <Override PartName="/ppt/charts/chart687.xml" ContentType="application/vnd.openxmlformats-officedocument.drawingml.chart+xml"/>
  <Override PartName="/ppt/tags/tag536.xml" ContentType="application/vnd.openxmlformats-officedocument.presentationml.tags+xml"/>
  <Override PartName="/ppt/charts/chart688.xml" ContentType="application/vnd.openxmlformats-officedocument.drawingml.chart+xml"/>
  <Override PartName="/ppt/tags/tag537.xml" ContentType="application/vnd.openxmlformats-officedocument.presentationml.tags+xml"/>
  <Override PartName="/ppt/charts/chart689.xml" ContentType="application/vnd.openxmlformats-officedocument.drawingml.chart+xml"/>
  <Override PartName="/ppt/tags/tag538.xml" ContentType="application/vnd.openxmlformats-officedocument.presentationml.tags+xml"/>
  <Override PartName="/ppt/charts/chart690.xml" ContentType="application/vnd.openxmlformats-officedocument.drawingml.chart+xml"/>
  <Override PartName="/ppt/tags/tag539.xml" ContentType="application/vnd.openxmlformats-officedocument.presentationml.tags+xml"/>
  <Override PartName="/ppt/charts/chart691.xml" ContentType="application/vnd.openxmlformats-officedocument.drawingml.chart+xml"/>
  <Override PartName="/ppt/tags/tag540.xml" ContentType="application/vnd.openxmlformats-officedocument.presentationml.tags+xml"/>
  <Override PartName="/ppt/charts/chart692.xml" ContentType="application/vnd.openxmlformats-officedocument.drawingml.chart+xml"/>
  <Override PartName="/ppt/tags/tag541.xml" ContentType="application/vnd.openxmlformats-officedocument.presentationml.tags+xml"/>
  <Override PartName="/ppt/charts/chart693.xml" ContentType="application/vnd.openxmlformats-officedocument.drawingml.chart+xml"/>
  <Override PartName="/ppt/tags/tag542.xml" ContentType="application/vnd.openxmlformats-officedocument.presentationml.tags+xml"/>
  <Override PartName="/ppt/charts/chart694.xml" ContentType="application/vnd.openxmlformats-officedocument.drawingml.chart+xml"/>
  <Override PartName="/ppt/tags/tag543.xml" ContentType="application/vnd.openxmlformats-officedocument.presentationml.tags+xml"/>
  <Override PartName="/ppt/charts/chart695.xml" ContentType="application/vnd.openxmlformats-officedocument.drawingml.chart+xml"/>
  <Override PartName="/ppt/tags/tag544.xml" ContentType="application/vnd.openxmlformats-officedocument.presentationml.tags+xml"/>
  <Override PartName="/ppt/charts/chart696.xml" ContentType="application/vnd.openxmlformats-officedocument.drawingml.chart+xml"/>
  <Override PartName="/ppt/tags/tag545.xml" ContentType="application/vnd.openxmlformats-officedocument.presentationml.tags+xml"/>
  <Override PartName="/ppt/charts/chart697.xml" ContentType="application/vnd.openxmlformats-officedocument.drawingml.chart+xml"/>
  <Override PartName="/ppt/tags/tag546.xml" ContentType="application/vnd.openxmlformats-officedocument.presentationml.tags+xml"/>
  <Override PartName="/ppt/charts/chart698.xml" ContentType="application/vnd.openxmlformats-officedocument.drawingml.chart+xml"/>
  <Override PartName="/ppt/tags/tag547.xml" ContentType="application/vnd.openxmlformats-officedocument.presentationml.tags+xml"/>
  <Override PartName="/ppt/charts/chart699.xml" ContentType="application/vnd.openxmlformats-officedocument.drawingml.chart+xml"/>
  <Override PartName="/ppt/tags/tag548.xml" ContentType="application/vnd.openxmlformats-officedocument.presentationml.tags+xml"/>
  <Override PartName="/ppt/charts/chart700.xml" ContentType="application/vnd.openxmlformats-officedocument.drawingml.chart+xml"/>
  <Override PartName="/ppt/tags/tag549.xml" ContentType="application/vnd.openxmlformats-officedocument.presentationml.tags+xml"/>
  <Override PartName="/ppt/charts/chart701.xml" ContentType="application/vnd.openxmlformats-officedocument.drawingml.chart+xml"/>
  <Override PartName="/ppt/tags/tag550.xml" ContentType="application/vnd.openxmlformats-officedocument.presentationml.tags+xml"/>
  <Override PartName="/ppt/charts/chart702.xml" ContentType="application/vnd.openxmlformats-officedocument.drawingml.chart+xml"/>
  <Override PartName="/ppt/tags/tag551.xml" ContentType="application/vnd.openxmlformats-officedocument.presentationml.tags+xml"/>
  <Override PartName="/ppt/charts/chart703.xml" ContentType="application/vnd.openxmlformats-officedocument.drawingml.chart+xml"/>
  <Override PartName="/ppt/tags/tag552.xml" ContentType="application/vnd.openxmlformats-officedocument.presentationml.tags+xml"/>
  <Override PartName="/ppt/charts/chart704.xml" ContentType="application/vnd.openxmlformats-officedocument.drawingml.chart+xml"/>
  <Override PartName="/ppt/tags/tag553.xml" ContentType="application/vnd.openxmlformats-officedocument.presentationml.tags+xml"/>
  <Override PartName="/ppt/charts/chart705.xml" ContentType="application/vnd.openxmlformats-officedocument.drawingml.chart+xml"/>
  <Override PartName="/ppt/tags/tag554.xml" ContentType="application/vnd.openxmlformats-officedocument.presentationml.tags+xml"/>
  <Override PartName="/ppt/charts/chart706.xml" ContentType="application/vnd.openxmlformats-officedocument.drawingml.chart+xml"/>
  <Override PartName="/ppt/tags/tag555.xml" ContentType="application/vnd.openxmlformats-officedocument.presentationml.tags+xml"/>
  <Override PartName="/ppt/charts/chart707.xml" ContentType="application/vnd.openxmlformats-officedocument.drawingml.chart+xml"/>
  <Override PartName="/ppt/tags/tag556.xml" ContentType="application/vnd.openxmlformats-officedocument.presentationml.tags+xml"/>
  <Override PartName="/ppt/charts/chart708.xml" ContentType="application/vnd.openxmlformats-officedocument.drawingml.chart+xml"/>
  <Override PartName="/ppt/tags/tag557.xml" ContentType="application/vnd.openxmlformats-officedocument.presentationml.tags+xml"/>
  <Override PartName="/ppt/charts/chart709.xml" ContentType="application/vnd.openxmlformats-officedocument.drawingml.chart+xml"/>
  <Override PartName="/ppt/tags/tag558.xml" ContentType="application/vnd.openxmlformats-officedocument.presentationml.tags+xml"/>
  <Override PartName="/ppt/charts/chart710.xml" ContentType="application/vnd.openxmlformats-officedocument.drawingml.chart+xml"/>
  <Override PartName="/ppt/tags/tag559.xml" ContentType="application/vnd.openxmlformats-officedocument.presentationml.tags+xml"/>
  <Override PartName="/ppt/charts/chart711.xml" ContentType="application/vnd.openxmlformats-officedocument.drawingml.chart+xml"/>
  <Override PartName="/ppt/tags/tag560.xml" ContentType="application/vnd.openxmlformats-officedocument.presentationml.tags+xml"/>
  <Override PartName="/ppt/charts/chart712.xml" ContentType="application/vnd.openxmlformats-officedocument.drawingml.chart+xml"/>
  <Override PartName="/ppt/tags/tag561.xml" ContentType="application/vnd.openxmlformats-officedocument.presentationml.tags+xml"/>
  <Override PartName="/ppt/charts/chart713.xml" ContentType="application/vnd.openxmlformats-officedocument.drawingml.chart+xml"/>
  <Override PartName="/ppt/tags/tag562.xml" ContentType="application/vnd.openxmlformats-officedocument.presentationml.tags+xml"/>
  <Override PartName="/ppt/charts/chart714.xml" ContentType="application/vnd.openxmlformats-officedocument.drawingml.chart+xml"/>
  <Override PartName="/ppt/tags/tag563.xml" ContentType="application/vnd.openxmlformats-officedocument.presentationml.tags+xml"/>
  <Override PartName="/ppt/charts/chart715.xml" ContentType="application/vnd.openxmlformats-officedocument.drawingml.chart+xml"/>
  <Override PartName="/ppt/tags/tag564.xml" ContentType="application/vnd.openxmlformats-officedocument.presentationml.tags+xml"/>
  <Override PartName="/ppt/charts/chart716.xml" ContentType="application/vnd.openxmlformats-officedocument.drawingml.chart+xml"/>
  <Override PartName="/ppt/tags/tag565.xml" ContentType="application/vnd.openxmlformats-officedocument.presentationml.tags+xml"/>
  <Override PartName="/ppt/charts/chart717.xml" ContentType="application/vnd.openxmlformats-officedocument.drawingml.chart+xml"/>
  <Override PartName="/ppt/tags/tag566.xml" ContentType="application/vnd.openxmlformats-officedocument.presentationml.tags+xml"/>
  <Override PartName="/ppt/charts/chart718.xml" ContentType="application/vnd.openxmlformats-officedocument.drawingml.chart+xml"/>
  <Override PartName="/ppt/tags/tag567.xml" ContentType="application/vnd.openxmlformats-officedocument.presentationml.tags+xml"/>
  <Override PartName="/ppt/charts/chart719.xml" ContentType="application/vnd.openxmlformats-officedocument.drawingml.chart+xml"/>
  <Override PartName="/ppt/tags/tag568.xml" ContentType="application/vnd.openxmlformats-officedocument.presentationml.tags+xml"/>
  <Override PartName="/ppt/charts/chart720.xml" ContentType="application/vnd.openxmlformats-officedocument.drawingml.chart+xml"/>
  <Override PartName="/ppt/tags/tag569.xml" ContentType="application/vnd.openxmlformats-officedocument.presentationml.tags+xml"/>
  <Override PartName="/ppt/charts/chart721.xml" ContentType="application/vnd.openxmlformats-officedocument.drawingml.chart+xml"/>
  <Override PartName="/ppt/tags/tag570.xml" ContentType="application/vnd.openxmlformats-officedocument.presentationml.tags+xml"/>
  <Override PartName="/ppt/charts/chart722.xml" ContentType="application/vnd.openxmlformats-officedocument.drawingml.chart+xml"/>
  <Override PartName="/ppt/tags/tag571.xml" ContentType="application/vnd.openxmlformats-officedocument.presentationml.tags+xml"/>
  <Override PartName="/ppt/charts/chart723.xml" ContentType="application/vnd.openxmlformats-officedocument.drawingml.chart+xml"/>
  <Override PartName="/ppt/tags/tag572.xml" ContentType="application/vnd.openxmlformats-officedocument.presentationml.tags+xml"/>
  <Override PartName="/ppt/charts/chart724.xml" ContentType="application/vnd.openxmlformats-officedocument.drawingml.chart+xml"/>
  <Override PartName="/ppt/tags/tag573.xml" ContentType="application/vnd.openxmlformats-officedocument.presentationml.tags+xml"/>
  <Override PartName="/ppt/charts/chart725.xml" ContentType="application/vnd.openxmlformats-officedocument.drawingml.chart+xml"/>
  <Override PartName="/ppt/tags/tag574.xml" ContentType="application/vnd.openxmlformats-officedocument.presentationml.tags+xml"/>
  <Override PartName="/ppt/charts/chart726.xml" ContentType="application/vnd.openxmlformats-officedocument.drawingml.chart+xml"/>
  <Override PartName="/ppt/tags/tag575.xml" ContentType="application/vnd.openxmlformats-officedocument.presentationml.tags+xml"/>
  <Override PartName="/ppt/charts/chart727.xml" ContentType="application/vnd.openxmlformats-officedocument.drawingml.chart+xml"/>
  <Override PartName="/ppt/tags/tag576.xml" ContentType="application/vnd.openxmlformats-officedocument.presentationml.tags+xml"/>
  <Override PartName="/ppt/charts/chart728.xml" ContentType="application/vnd.openxmlformats-officedocument.drawingml.chart+xml"/>
  <Override PartName="/ppt/tags/tag577.xml" ContentType="application/vnd.openxmlformats-officedocument.presentationml.tags+xml"/>
  <Override PartName="/ppt/charts/chart729.xml" ContentType="application/vnd.openxmlformats-officedocument.drawingml.chart+xml"/>
  <Override PartName="/ppt/tags/tag578.xml" ContentType="application/vnd.openxmlformats-officedocument.presentationml.tags+xml"/>
  <Override PartName="/ppt/charts/chart730.xml" ContentType="application/vnd.openxmlformats-officedocument.drawingml.chart+xml"/>
  <Override PartName="/ppt/tags/tag579.xml" ContentType="application/vnd.openxmlformats-officedocument.presentationml.tags+xml"/>
  <Override PartName="/ppt/charts/chart731.xml" ContentType="application/vnd.openxmlformats-officedocument.drawingml.chart+xml"/>
  <Override PartName="/ppt/tags/tag580.xml" ContentType="application/vnd.openxmlformats-officedocument.presentationml.tags+xml"/>
  <Override PartName="/ppt/charts/chart732.xml" ContentType="application/vnd.openxmlformats-officedocument.drawingml.chart+xml"/>
  <Override PartName="/ppt/tags/tag581.xml" ContentType="application/vnd.openxmlformats-officedocument.presentationml.tags+xml"/>
  <Override PartName="/ppt/charts/chart733.xml" ContentType="application/vnd.openxmlformats-officedocument.drawingml.chart+xml"/>
  <Override PartName="/ppt/tags/tag582.xml" ContentType="application/vnd.openxmlformats-officedocument.presentationml.tags+xml"/>
  <Override PartName="/ppt/charts/chart734.xml" ContentType="application/vnd.openxmlformats-officedocument.drawingml.chart+xml"/>
  <Override PartName="/ppt/tags/tag583.xml" ContentType="application/vnd.openxmlformats-officedocument.presentationml.tags+xml"/>
  <Override PartName="/ppt/charts/chart735.xml" ContentType="application/vnd.openxmlformats-officedocument.drawingml.chart+xml"/>
  <Override PartName="/ppt/tags/tag584.xml" ContentType="application/vnd.openxmlformats-officedocument.presentationml.tags+xml"/>
  <Override PartName="/ppt/charts/chart736.xml" ContentType="application/vnd.openxmlformats-officedocument.drawingml.chart+xml"/>
  <Override PartName="/ppt/tags/tag585.xml" ContentType="application/vnd.openxmlformats-officedocument.presentationml.tags+xml"/>
  <Override PartName="/ppt/charts/chart737.xml" ContentType="application/vnd.openxmlformats-officedocument.drawingml.chart+xml"/>
  <Override PartName="/ppt/tags/tag586.xml" ContentType="application/vnd.openxmlformats-officedocument.presentationml.tags+xml"/>
  <Override PartName="/ppt/charts/chart738.xml" ContentType="application/vnd.openxmlformats-officedocument.drawingml.chart+xml"/>
  <Override PartName="/ppt/tags/tag587.xml" ContentType="application/vnd.openxmlformats-officedocument.presentationml.tags+xml"/>
  <Override PartName="/ppt/charts/chart739.xml" ContentType="application/vnd.openxmlformats-officedocument.drawingml.chart+xml"/>
  <Override PartName="/ppt/tags/tag588.xml" ContentType="application/vnd.openxmlformats-officedocument.presentationml.tags+xml"/>
  <Override PartName="/ppt/charts/chart740.xml" ContentType="application/vnd.openxmlformats-officedocument.drawingml.chart+xml"/>
  <Override PartName="/ppt/tags/tag589.xml" ContentType="application/vnd.openxmlformats-officedocument.presentationml.tags+xml"/>
  <Override PartName="/ppt/charts/chart741.xml" ContentType="application/vnd.openxmlformats-officedocument.drawingml.chart+xml"/>
  <Override PartName="/ppt/tags/tag590.xml" ContentType="application/vnd.openxmlformats-officedocument.presentationml.tags+xml"/>
  <Override PartName="/ppt/charts/chart742.xml" ContentType="application/vnd.openxmlformats-officedocument.drawingml.chart+xml"/>
  <Override PartName="/ppt/tags/tag591.xml" ContentType="application/vnd.openxmlformats-officedocument.presentationml.tags+xml"/>
  <Override PartName="/ppt/charts/chart743.xml" ContentType="application/vnd.openxmlformats-officedocument.drawingml.chart+xml"/>
  <Override PartName="/ppt/tags/tag592.xml" ContentType="application/vnd.openxmlformats-officedocument.presentationml.tags+xml"/>
  <Override PartName="/ppt/charts/chart744.xml" ContentType="application/vnd.openxmlformats-officedocument.drawingml.chart+xml"/>
  <Override PartName="/ppt/tags/tag593.xml" ContentType="application/vnd.openxmlformats-officedocument.presentationml.tags+xml"/>
  <Override PartName="/ppt/charts/chart745.xml" ContentType="application/vnd.openxmlformats-officedocument.drawingml.chart+xml"/>
  <Override PartName="/ppt/tags/tag594.xml" ContentType="application/vnd.openxmlformats-officedocument.presentationml.tags+xml"/>
  <Override PartName="/ppt/charts/chart746.xml" ContentType="application/vnd.openxmlformats-officedocument.drawingml.chart+xml"/>
  <Override PartName="/ppt/tags/tag595.xml" ContentType="application/vnd.openxmlformats-officedocument.presentationml.tags+xml"/>
  <Override PartName="/ppt/charts/chart747.xml" ContentType="application/vnd.openxmlformats-officedocument.drawingml.chart+xml"/>
  <Override PartName="/ppt/tags/tag596.xml" ContentType="application/vnd.openxmlformats-officedocument.presentationml.tags+xml"/>
  <Override PartName="/ppt/charts/chart748.xml" ContentType="application/vnd.openxmlformats-officedocument.drawingml.chart+xml"/>
  <Override PartName="/ppt/tags/tag597.xml" ContentType="application/vnd.openxmlformats-officedocument.presentationml.tags+xml"/>
  <Override PartName="/ppt/charts/chart749.xml" ContentType="application/vnd.openxmlformats-officedocument.drawingml.chart+xml"/>
  <Override PartName="/ppt/tags/tag598.xml" ContentType="application/vnd.openxmlformats-officedocument.presentationml.tags+xml"/>
  <Override PartName="/ppt/charts/chart750.xml" ContentType="application/vnd.openxmlformats-officedocument.drawingml.chart+xml"/>
  <Override PartName="/ppt/tags/tag599.xml" ContentType="application/vnd.openxmlformats-officedocument.presentationml.tags+xml"/>
  <Override PartName="/ppt/charts/chart751.xml" ContentType="application/vnd.openxmlformats-officedocument.drawingml.chart+xml"/>
  <Override PartName="/ppt/tags/tag600.xml" ContentType="application/vnd.openxmlformats-officedocument.presentationml.tags+xml"/>
  <Override PartName="/ppt/charts/chart752.xml" ContentType="application/vnd.openxmlformats-officedocument.drawingml.chart+xml"/>
  <Override PartName="/ppt/tags/tag601.xml" ContentType="application/vnd.openxmlformats-officedocument.presentationml.tags+xml"/>
  <Override PartName="/ppt/charts/chart753.xml" ContentType="application/vnd.openxmlformats-officedocument.drawingml.chart+xml"/>
  <Override PartName="/ppt/tags/tag602.xml" ContentType="application/vnd.openxmlformats-officedocument.presentationml.tags+xml"/>
  <Override PartName="/ppt/charts/chart754.xml" ContentType="application/vnd.openxmlformats-officedocument.drawingml.chart+xml"/>
  <Override PartName="/ppt/tags/tag603.xml" ContentType="application/vnd.openxmlformats-officedocument.presentationml.tags+xml"/>
  <Override PartName="/ppt/charts/chart755.xml" ContentType="application/vnd.openxmlformats-officedocument.drawingml.chart+xml"/>
  <Override PartName="/ppt/tags/tag604.xml" ContentType="application/vnd.openxmlformats-officedocument.presentationml.tags+xml"/>
  <Override PartName="/ppt/charts/chart756.xml" ContentType="application/vnd.openxmlformats-officedocument.drawingml.chart+xml"/>
  <Override PartName="/ppt/tags/tag605.xml" ContentType="application/vnd.openxmlformats-officedocument.presentationml.tags+xml"/>
  <Override PartName="/ppt/charts/chart757.xml" ContentType="application/vnd.openxmlformats-officedocument.drawingml.chart+xml"/>
  <Override PartName="/ppt/tags/tag606.xml" ContentType="application/vnd.openxmlformats-officedocument.presentationml.tags+xml"/>
  <Override PartName="/ppt/charts/chart758.xml" ContentType="application/vnd.openxmlformats-officedocument.drawingml.chart+xml"/>
  <Override PartName="/ppt/tags/tag607.xml" ContentType="application/vnd.openxmlformats-officedocument.presentationml.tags+xml"/>
  <Override PartName="/ppt/charts/chart759.xml" ContentType="application/vnd.openxmlformats-officedocument.drawingml.chart+xml"/>
  <Override PartName="/ppt/tags/tag608.xml" ContentType="application/vnd.openxmlformats-officedocument.presentationml.tags+xml"/>
  <Override PartName="/ppt/charts/chart760.xml" ContentType="application/vnd.openxmlformats-officedocument.drawingml.chart+xml"/>
  <Override PartName="/ppt/tags/tag609.xml" ContentType="application/vnd.openxmlformats-officedocument.presentationml.tags+xml"/>
  <Override PartName="/ppt/charts/chart761.xml" ContentType="application/vnd.openxmlformats-officedocument.drawingml.chart+xml"/>
  <Override PartName="/ppt/tags/tag610.xml" ContentType="application/vnd.openxmlformats-officedocument.presentationml.tags+xml"/>
  <Override PartName="/ppt/charts/chart762.xml" ContentType="application/vnd.openxmlformats-officedocument.drawingml.chart+xml"/>
  <Override PartName="/ppt/tags/tag611.xml" ContentType="application/vnd.openxmlformats-officedocument.presentationml.tags+xml"/>
  <Override PartName="/ppt/charts/chart763.xml" ContentType="application/vnd.openxmlformats-officedocument.drawingml.chart+xml"/>
  <Override PartName="/ppt/tags/tag612.xml" ContentType="application/vnd.openxmlformats-officedocument.presentationml.tags+xml"/>
  <Override PartName="/ppt/charts/chart764.xml" ContentType="application/vnd.openxmlformats-officedocument.drawingml.chart+xml"/>
  <Override PartName="/ppt/tags/tag613.xml" ContentType="application/vnd.openxmlformats-officedocument.presentationml.tags+xml"/>
  <Override PartName="/ppt/charts/chart765.xml" ContentType="application/vnd.openxmlformats-officedocument.drawingml.chart+xml"/>
  <Override PartName="/ppt/tags/tag614.xml" ContentType="application/vnd.openxmlformats-officedocument.presentationml.tags+xml"/>
  <Override PartName="/ppt/charts/chart766.xml" ContentType="application/vnd.openxmlformats-officedocument.drawingml.chart+xml"/>
  <Override PartName="/ppt/tags/tag615.xml" ContentType="application/vnd.openxmlformats-officedocument.presentationml.tags+xml"/>
  <Override PartName="/ppt/charts/chart767.xml" ContentType="application/vnd.openxmlformats-officedocument.drawingml.chart+xml"/>
  <Override PartName="/ppt/tags/tag616.xml" ContentType="application/vnd.openxmlformats-officedocument.presentationml.tags+xml"/>
  <Override PartName="/ppt/charts/chart768.xml" ContentType="application/vnd.openxmlformats-officedocument.drawingml.chart+xml"/>
  <Override PartName="/ppt/tags/tag617.xml" ContentType="application/vnd.openxmlformats-officedocument.presentationml.tags+xml"/>
  <Override PartName="/ppt/charts/chart769.xml" ContentType="application/vnd.openxmlformats-officedocument.drawingml.chart+xml"/>
  <Override PartName="/ppt/tags/tag618.xml" ContentType="application/vnd.openxmlformats-officedocument.presentationml.tags+xml"/>
  <Override PartName="/ppt/charts/chart770.xml" ContentType="application/vnd.openxmlformats-officedocument.drawingml.chart+xml"/>
  <Override PartName="/ppt/tags/tag619.xml" ContentType="application/vnd.openxmlformats-officedocument.presentationml.tags+xml"/>
  <Override PartName="/ppt/charts/chart771.xml" ContentType="application/vnd.openxmlformats-officedocument.drawingml.chart+xml"/>
  <Override PartName="/ppt/tags/tag620.xml" ContentType="application/vnd.openxmlformats-officedocument.presentationml.tags+xml"/>
  <Override PartName="/ppt/charts/chart772.xml" ContentType="application/vnd.openxmlformats-officedocument.drawingml.chart+xml"/>
  <Override PartName="/ppt/tags/tag621.xml" ContentType="application/vnd.openxmlformats-officedocument.presentationml.tags+xml"/>
  <Override PartName="/ppt/charts/chart773.xml" ContentType="application/vnd.openxmlformats-officedocument.drawingml.chart+xml"/>
  <Override PartName="/ppt/tags/tag622.xml" ContentType="application/vnd.openxmlformats-officedocument.presentationml.tags+xml"/>
  <Override PartName="/ppt/charts/chart774.xml" ContentType="application/vnd.openxmlformats-officedocument.drawingml.chart+xml"/>
  <Override PartName="/ppt/tags/tag623.xml" ContentType="application/vnd.openxmlformats-officedocument.presentationml.tags+xml"/>
  <Override PartName="/ppt/charts/chart775.xml" ContentType="application/vnd.openxmlformats-officedocument.drawingml.chart+xml"/>
  <Override PartName="/ppt/tags/tag624.xml" ContentType="application/vnd.openxmlformats-officedocument.presentationml.tags+xml"/>
  <Override PartName="/ppt/charts/chart776.xml" ContentType="application/vnd.openxmlformats-officedocument.drawingml.chart+xml"/>
  <Override PartName="/ppt/tags/tag625.xml" ContentType="application/vnd.openxmlformats-officedocument.presentationml.tags+xml"/>
  <Override PartName="/ppt/charts/chart777.xml" ContentType="application/vnd.openxmlformats-officedocument.drawingml.chart+xml"/>
  <Override PartName="/ppt/tags/tag626.xml" ContentType="application/vnd.openxmlformats-officedocument.presentationml.tags+xml"/>
  <Override PartName="/ppt/charts/chart778.xml" ContentType="application/vnd.openxmlformats-officedocument.drawingml.chart+xml"/>
  <Override PartName="/ppt/tags/tag627.xml" ContentType="application/vnd.openxmlformats-officedocument.presentationml.tags+xml"/>
  <Override PartName="/ppt/charts/chart779.xml" ContentType="application/vnd.openxmlformats-officedocument.drawingml.chart+xml"/>
  <Override PartName="/ppt/tags/tag628.xml" ContentType="application/vnd.openxmlformats-officedocument.presentationml.tags+xml"/>
  <Override PartName="/ppt/charts/chart780.xml" ContentType="application/vnd.openxmlformats-officedocument.drawingml.chart+xml"/>
  <Override PartName="/ppt/tags/tag629.xml" ContentType="application/vnd.openxmlformats-officedocument.presentationml.tags+xml"/>
  <Override PartName="/ppt/charts/chart781.xml" ContentType="application/vnd.openxmlformats-officedocument.drawingml.chart+xml"/>
  <Override PartName="/ppt/tags/tag630.xml" ContentType="application/vnd.openxmlformats-officedocument.presentationml.tags+xml"/>
  <Override PartName="/ppt/charts/chart782.xml" ContentType="application/vnd.openxmlformats-officedocument.drawingml.chart+xml"/>
  <Override PartName="/ppt/tags/tag631.xml" ContentType="application/vnd.openxmlformats-officedocument.presentationml.tags+xml"/>
  <Override PartName="/ppt/charts/chart783.xml" ContentType="application/vnd.openxmlformats-officedocument.drawingml.chart+xml"/>
  <Override PartName="/ppt/tags/tag632.xml" ContentType="application/vnd.openxmlformats-officedocument.presentationml.tags+xml"/>
  <Override PartName="/ppt/charts/chart784.xml" ContentType="application/vnd.openxmlformats-officedocument.drawingml.chart+xml"/>
  <Override PartName="/ppt/tags/tag633.xml" ContentType="application/vnd.openxmlformats-officedocument.presentationml.tags+xml"/>
  <Override PartName="/ppt/charts/chart785.xml" ContentType="application/vnd.openxmlformats-officedocument.drawingml.chart+xml"/>
  <Override PartName="/ppt/tags/tag634.xml" ContentType="application/vnd.openxmlformats-officedocument.presentationml.tags+xml"/>
  <Override PartName="/ppt/charts/chart786.xml" ContentType="application/vnd.openxmlformats-officedocument.drawingml.chart+xml"/>
  <Override PartName="/ppt/tags/tag635.xml" ContentType="application/vnd.openxmlformats-officedocument.presentationml.tags+xml"/>
  <Override PartName="/ppt/charts/chart787.xml" ContentType="application/vnd.openxmlformats-officedocument.drawingml.chart+xml"/>
  <Override PartName="/ppt/tags/tag636.xml" ContentType="application/vnd.openxmlformats-officedocument.presentationml.tags+xml"/>
  <Override PartName="/ppt/charts/chart788.xml" ContentType="application/vnd.openxmlformats-officedocument.drawingml.chart+xml"/>
  <Override PartName="/ppt/tags/tag637.xml" ContentType="application/vnd.openxmlformats-officedocument.presentationml.tags+xml"/>
  <Override PartName="/ppt/charts/chart789.xml" ContentType="application/vnd.openxmlformats-officedocument.drawingml.chart+xml"/>
  <Override PartName="/ppt/tags/tag638.xml" ContentType="application/vnd.openxmlformats-officedocument.presentationml.tags+xml"/>
  <Override PartName="/ppt/charts/chart790.xml" ContentType="application/vnd.openxmlformats-officedocument.drawingml.chart+xml"/>
  <Override PartName="/ppt/tags/tag639.xml" ContentType="application/vnd.openxmlformats-officedocument.presentationml.tags+xml"/>
  <Override PartName="/ppt/charts/chart791.xml" ContentType="application/vnd.openxmlformats-officedocument.drawingml.chart+xml"/>
  <Override PartName="/ppt/tags/tag640.xml" ContentType="application/vnd.openxmlformats-officedocument.presentationml.tags+xml"/>
  <Override PartName="/ppt/charts/chart792.xml" ContentType="application/vnd.openxmlformats-officedocument.drawingml.chart+xml"/>
  <Override PartName="/ppt/tags/tag641.xml" ContentType="application/vnd.openxmlformats-officedocument.presentationml.tags+xml"/>
  <Override PartName="/ppt/charts/chart793.xml" ContentType="application/vnd.openxmlformats-officedocument.drawingml.chart+xml"/>
  <Override PartName="/ppt/tags/tag642.xml" ContentType="application/vnd.openxmlformats-officedocument.presentationml.tags+xml"/>
  <Override PartName="/ppt/charts/chart794.xml" ContentType="application/vnd.openxmlformats-officedocument.drawingml.chart+xml"/>
  <Override PartName="/ppt/tags/tag643.xml" ContentType="application/vnd.openxmlformats-officedocument.presentationml.tags+xml"/>
  <Override PartName="/ppt/charts/chart795.xml" ContentType="application/vnd.openxmlformats-officedocument.drawingml.chart+xml"/>
  <Override PartName="/ppt/tags/tag644.xml" ContentType="application/vnd.openxmlformats-officedocument.presentationml.tags+xml"/>
  <Override PartName="/ppt/charts/chart796.xml" ContentType="application/vnd.openxmlformats-officedocument.drawingml.chart+xml"/>
  <Override PartName="/ppt/tags/tag645.xml" ContentType="application/vnd.openxmlformats-officedocument.presentationml.tags+xml"/>
  <Override PartName="/ppt/charts/chart797.xml" ContentType="application/vnd.openxmlformats-officedocument.drawingml.chart+xml"/>
  <Override PartName="/ppt/tags/tag646.xml" ContentType="application/vnd.openxmlformats-officedocument.presentationml.tags+xml"/>
  <Override PartName="/ppt/charts/chart798.xml" ContentType="application/vnd.openxmlformats-officedocument.drawingml.chart+xml"/>
  <Override PartName="/ppt/tags/tag647.xml" ContentType="application/vnd.openxmlformats-officedocument.presentationml.tags+xml"/>
  <Override PartName="/ppt/charts/chart799.xml" ContentType="application/vnd.openxmlformats-officedocument.drawingml.chart+xml"/>
  <Override PartName="/ppt/tags/tag648.xml" ContentType="application/vnd.openxmlformats-officedocument.presentationml.tags+xml"/>
  <Override PartName="/ppt/charts/chart800.xml" ContentType="application/vnd.openxmlformats-officedocument.drawingml.chart+xml"/>
  <Override PartName="/ppt/tags/tag649.xml" ContentType="application/vnd.openxmlformats-officedocument.presentationml.tags+xml"/>
  <Override PartName="/ppt/charts/chart801.xml" ContentType="application/vnd.openxmlformats-officedocument.drawingml.chart+xml"/>
  <Override PartName="/ppt/tags/tag650.xml" ContentType="application/vnd.openxmlformats-officedocument.presentationml.tags+xml"/>
  <Override PartName="/ppt/charts/chart802.xml" ContentType="application/vnd.openxmlformats-officedocument.drawingml.chart+xml"/>
  <Override PartName="/ppt/tags/tag651.xml" ContentType="application/vnd.openxmlformats-officedocument.presentationml.tags+xml"/>
  <Override PartName="/ppt/charts/chart803.xml" ContentType="application/vnd.openxmlformats-officedocument.drawingml.chart+xml"/>
  <Override PartName="/ppt/tags/tag652.xml" ContentType="application/vnd.openxmlformats-officedocument.presentationml.tags+xml"/>
  <Override PartName="/ppt/charts/chart804.xml" ContentType="application/vnd.openxmlformats-officedocument.drawingml.chart+xml"/>
  <Override PartName="/ppt/tags/tag653.xml" ContentType="application/vnd.openxmlformats-officedocument.presentationml.tags+xml"/>
  <Override PartName="/ppt/charts/chart805.xml" ContentType="application/vnd.openxmlformats-officedocument.drawingml.chart+xml"/>
  <Override PartName="/ppt/tags/tag654.xml" ContentType="application/vnd.openxmlformats-officedocument.presentationml.tags+xml"/>
  <Override PartName="/ppt/charts/chart806.xml" ContentType="application/vnd.openxmlformats-officedocument.drawingml.chart+xml"/>
  <Override PartName="/ppt/tags/tag655.xml" ContentType="application/vnd.openxmlformats-officedocument.presentationml.tags+xml"/>
  <Override PartName="/ppt/charts/chart807.xml" ContentType="application/vnd.openxmlformats-officedocument.drawingml.chart+xml"/>
  <Override PartName="/ppt/tags/tag656.xml" ContentType="application/vnd.openxmlformats-officedocument.presentationml.tags+xml"/>
  <Override PartName="/ppt/notesSlides/notesSlide1.xml" ContentType="application/vnd.openxmlformats-officedocument.presentationml.notesSlide+xml"/>
  <Override PartName="/ppt/tags/tag657.xml" ContentType="application/vnd.openxmlformats-officedocument.presentationml.tags+xml"/>
  <Override PartName="/ppt/notesSlides/notesSlide2.xml" ContentType="application/vnd.openxmlformats-officedocument.presentationml.notesSlide+xml"/>
  <Override PartName="/ppt/tags/tag658.xml" ContentType="application/vnd.openxmlformats-officedocument.presentationml.tags+xml"/>
  <Override PartName="/ppt/notesSlides/notesSlide3.xml" ContentType="application/vnd.openxmlformats-officedocument.presentationml.notesSlide+xml"/>
  <Override PartName="/ppt/tags/tag659.xml" ContentType="application/vnd.openxmlformats-officedocument.presentationml.tags+xml"/>
  <Override PartName="/ppt/notesSlides/notesSlide4.xml" ContentType="application/vnd.openxmlformats-officedocument.presentationml.notesSlide+xml"/>
  <Override PartName="/ppt/tags/tag660.xml" ContentType="application/vnd.openxmlformats-officedocument.presentationml.tags+xml"/>
  <Override PartName="/ppt/notesSlides/notesSlide5.xml" ContentType="application/vnd.openxmlformats-officedocument.presentationml.notesSlide+xml"/>
  <Override PartName="/ppt/tags/tag661.xml" ContentType="application/vnd.openxmlformats-officedocument.presentationml.tags+xml"/>
  <Override PartName="/ppt/notesSlides/notesSlide6.xml" ContentType="application/vnd.openxmlformats-officedocument.presentationml.notesSlide+xml"/>
  <Override PartName="/ppt/tags/tag662.xml" ContentType="application/vnd.openxmlformats-officedocument.presentationml.tags+xml"/>
  <Override PartName="/ppt/notesSlides/notesSlide7.xml" ContentType="application/vnd.openxmlformats-officedocument.presentationml.notesSlide+xml"/>
  <Override PartName="/ppt/tags/tag663.xml" ContentType="application/vnd.openxmlformats-officedocument.presentationml.tags+xml"/>
  <Override PartName="/ppt/notesSlides/notesSlide8.xml" ContentType="application/vnd.openxmlformats-officedocument.presentationml.notesSlide+xml"/>
  <Override PartName="/ppt/tags/tag664.xml" ContentType="application/vnd.openxmlformats-officedocument.presentationml.tags+xml"/>
  <Override PartName="/ppt/notesSlides/notesSlide9.xml" ContentType="application/vnd.openxmlformats-officedocument.presentationml.notesSlide+xml"/>
  <Override PartName="/ppt/tags/tag665.xml" ContentType="application/vnd.openxmlformats-officedocument.presentationml.tags+xml"/>
  <Override PartName="/ppt/notesSlides/notesSlide10.xml" ContentType="application/vnd.openxmlformats-officedocument.presentationml.notesSlide+xml"/>
  <Override PartName="/ppt/tags/tag666.xml" ContentType="application/vnd.openxmlformats-officedocument.presentationml.tags+xml"/>
  <Override PartName="/ppt/notesSlides/notesSlide11.xml" ContentType="application/vnd.openxmlformats-officedocument.presentationml.notesSlide+xml"/>
  <Override PartName="/ppt/tags/tag667.xml" ContentType="application/vnd.openxmlformats-officedocument.presentationml.tags+xml"/>
  <Override PartName="/ppt/notesSlides/notesSlide12.xml" ContentType="application/vnd.openxmlformats-officedocument.presentationml.notesSlide+xml"/>
  <Override PartName="/ppt/tags/tag668.xml" ContentType="application/vnd.openxmlformats-officedocument.presentationml.tags+xml"/>
  <Override PartName="/ppt/notesSlides/notesSlide13.xml" ContentType="application/vnd.openxmlformats-officedocument.presentationml.notesSlide+xml"/>
  <Override PartName="/ppt/tags/tag669.xml" ContentType="application/vnd.openxmlformats-officedocument.presentationml.tags+xml"/>
  <Override PartName="/ppt/notesSlides/notesSlide14.xml" ContentType="application/vnd.openxmlformats-officedocument.presentationml.notesSlide+xml"/>
  <Override PartName="/ppt/tags/tag670.xml" ContentType="application/vnd.openxmlformats-officedocument.presentationml.tags+xml"/>
  <Override PartName="/ppt/notesSlides/notesSlide15.xml" ContentType="application/vnd.openxmlformats-officedocument.presentationml.notesSlide+xml"/>
  <Override PartName="/ppt/tags/tag671.xml" ContentType="application/vnd.openxmlformats-officedocument.presentationml.tags+xml"/>
  <Override PartName="/ppt/notesSlides/notesSlide16.xml" ContentType="application/vnd.openxmlformats-officedocument.presentationml.notesSlide+xml"/>
  <Override PartName="/ppt/tags/tag672.xml" ContentType="application/vnd.openxmlformats-officedocument.presentationml.tags+xml"/>
  <Override PartName="/ppt/notesSlides/notesSlide17.xml" ContentType="application/vnd.openxmlformats-officedocument.presentationml.notesSlide+xml"/>
  <Override PartName="/ppt/tags/tag673.xml" ContentType="application/vnd.openxmlformats-officedocument.presentationml.tags+xml"/>
  <Override PartName="/ppt/notesSlides/notesSlide18.xml" ContentType="application/vnd.openxmlformats-officedocument.presentationml.notesSlide+xml"/>
  <Override PartName="/ppt/tags/tag674.xml" ContentType="application/vnd.openxmlformats-officedocument.presentationml.tags+xml"/>
  <Override PartName="/ppt/notesSlides/notesSlide19.xml" ContentType="application/vnd.openxmlformats-officedocument.presentationml.notesSlide+xml"/>
  <Override PartName="/ppt/tags/tag675.xml" ContentType="application/vnd.openxmlformats-officedocument.presentationml.tags+xml"/>
  <Override PartName="/ppt/notesSlides/notesSlide20.xml" ContentType="application/vnd.openxmlformats-officedocument.presentationml.notesSlide+xml"/>
  <Override PartName="/ppt/tags/tag676.xml" ContentType="application/vnd.openxmlformats-officedocument.presentationml.tags+xml"/>
  <Override PartName="/ppt/notesSlides/notesSlide21.xml" ContentType="application/vnd.openxmlformats-officedocument.presentationml.notesSlide+xml"/>
  <Override PartName="/ppt/tags/tag677.xml" ContentType="application/vnd.openxmlformats-officedocument.presentationml.tags+xml"/>
  <Override PartName="/ppt/notesSlides/notesSlide22.xml" ContentType="application/vnd.openxmlformats-officedocument.presentationml.notesSlide+xml"/>
  <Override PartName="/ppt/tags/tag678.xml" ContentType="application/vnd.openxmlformats-officedocument.presentationml.tags+xml"/>
  <Override PartName="/ppt/notesSlides/notesSlide23.xml" ContentType="application/vnd.openxmlformats-officedocument.presentationml.notesSlide+xml"/>
  <Override PartName="/ppt/tags/tag679.xml" ContentType="application/vnd.openxmlformats-officedocument.presentationml.tags+xml"/>
  <Override PartName="/ppt/notesSlides/notesSlide24.xml" ContentType="application/vnd.openxmlformats-officedocument.presentationml.notesSlide+xml"/>
  <Override PartName="/ppt/tags/tag680.xml" ContentType="application/vnd.openxmlformats-officedocument.presentationml.tags+xml"/>
  <Override PartName="/ppt/notesSlides/notesSlide25.xml" ContentType="application/vnd.openxmlformats-officedocument.presentationml.notesSlide+xml"/>
  <Override PartName="/ppt/tags/tag681.xml" ContentType="application/vnd.openxmlformats-officedocument.presentationml.tags+xml"/>
  <Override PartName="/ppt/notesSlides/notesSlide26.xml" ContentType="application/vnd.openxmlformats-officedocument.presentationml.notesSlide+xml"/>
  <Override PartName="/ppt/tags/tag682.xml" ContentType="application/vnd.openxmlformats-officedocument.presentationml.tags+xml"/>
  <Override PartName="/ppt/notesSlides/notesSlide27.xml" ContentType="application/vnd.openxmlformats-officedocument.presentationml.notesSlide+xml"/>
  <Override PartName="/ppt/tags/tag683.xml" ContentType="application/vnd.openxmlformats-officedocument.presentationml.tags+xml"/>
  <Override PartName="/ppt/notesSlides/notesSlide28.xml" ContentType="application/vnd.openxmlformats-officedocument.presentationml.notesSlide+xml"/>
  <Override PartName="/ppt/tags/tag684.xml" ContentType="application/vnd.openxmlformats-officedocument.presentationml.tags+xml"/>
  <Override PartName="/ppt/notesSlides/notesSlide29.xml" ContentType="application/vnd.openxmlformats-officedocument.presentationml.notesSlide+xml"/>
  <Override PartName="/ppt/tags/tag685.xml" ContentType="application/vnd.openxmlformats-officedocument.presentationml.tags+xml"/>
  <Override PartName="/ppt/notesSlides/notesSlide30.xml" ContentType="application/vnd.openxmlformats-officedocument.presentationml.notesSlide+xml"/>
  <Override PartName="/ppt/tags/tag686.xml" ContentType="application/vnd.openxmlformats-officedocument.presentationml.tags+xml"/>
  <Override PartName="/ppt/notesSlides/notesSlide31.xml" ContentType="application/vnd.openxmlformats-officedocument.presentationml.notesSlide+xml"/>
  <Override PartName="/ppt/tags/tag687.xml" ContentType="application/vnd.openxmlformats-officedocument.presentationml.tags+xml"/>
  <Override PartName="/ppt/notesSlides/notesSlide32.xml" ContentType="application/vnd.openxmlformats-officedocument.presentationml.notesSlide+xml"/>
  <Override PartName="/ppt/tags/tag688.xml" ContentType="application/vnd.openxmlformats-officedocument.presentationml.tags+xml"/>
  <Override PartName="/ppt/notesSlides/notesSlide33.xml" ContentType="application/vnd.openxmlformats-officedocument.presentationml.notesSlide+xml"/>
  <Override PartName="/ppt/tags/tag689.xml" ContentType="application/vnd.openxmlformats-officedocument.presentationml.tags+xml"/>
  <Override PartName="/ppt/notesSlides/notesSlide34.xml" ContentType="application/vnd.openxmlformats-officedocument.presentationml.notesSlide+xml"/>
  <Override PartName="/ppt/tags/tag690.xml" ContentType="application/vnd.openxmlformats-officedocument.presentationml.tags+xml"/>
  <Override PartName="/ppt/notesSlides/notesSlide35.xml" ContentType="application/vnd.openxmlformats-officedocument.presentationml.notesSlide+xml"/>
  <Override PartName="/ppt/tags/tag691.xml" ContentType="application/vnd.openxmlformats-officedocument.presentationml.tags+xml"/>
  <Override PartName="/ppt/notesSlides/notesSlide36.xml" ContentType="application/vnd.openxmlformats-officedocument.presentationml.notesSlide+xml"/>
  <Override PartName="/ppt/tags/tag692.xml" ContentType="application/vnd.openxmlformats-officedocument.presentationml.tags+xml"/>
  <Override PartName="/ppt/notesSlides/notesSlide37.xml" ContentType="application/vnd.openxmlformats-officedocument.presentationml.notesSlide+xml"/>
  <Override PartName="/ppt/tags/tag693.xml" ContentType="application/vnd.openxmlformats-officedocument.presentationml.tags+xml"/>
  <Override PartName="/ppt/notesSlides/notesSlide38.xml" ContentType="application/vnd.openxmlformats-officedocument.presentationml.notesSlide+xml"/>
  <Override PartName="/ppt/tags/tag694.xml" ContentType="application/vnd.openxmlformats-officedocument.presentationml.tags+xml"/>
  <Override PartName="/ppt/notesSlides/notesSlide39.xml" ContentType="application/vnd.openxmlformats-officedocument.presentationml.notesSlide+xml"/>
  <Override PartName="/ppt/tags/tag695.xml" ContentType="application/vnd.openxmlformats-officedocument.presentationml.tags+xml"/>
  <Override PartName="/ppt/notesSlides/notesSlide40.xml" ContentType="application/vnd.openxmlformats-officedocument.presentationml.notesSlide+xml"/>
  <Override PartName="/ppt/tags/tag696.xml" ContentType="application/vnd.openxmlformats-officedocument.presentationml.tags+xml"/>
  <Override PartName="/ppt/notesSlides/notesSlide41.xml" ContentType="application/vnd.openxmlformats-officedocument.presentationml.notesSlide+xml"/>
  <Override PartName="/ppt/tags/tag697.xml" ContentType="application/vnd.openxmlformats-officedocument.presentationml.tags+xml"/>
  <Override PartName="/ppt/notesSlides/notesSlide42.xml" ContentType="application/vnd.openxmlformats-officedocument.presentationml.notesSlide+xml"/>
  <Override PartName="/ppt/tags/tag698.xml" ContentType="application/vnd.openxmlformats-officedocument.presentationml.tags+xml"/>
  <Override PartName="/ppt/notesSlides/notesSlide43.xml" ContentType="application/vnd.openxmlformats-officedocument.presentationml.notesSlide+xml"/>
  <Override PartName="/ppt/tags/tag699.xml" ContentType="application/vnd.openxmlformats-officedocument.presentationml.tags+xml"/>
  <Override PartName="/ppt/notesSlides/notesSlide44.xml" ContentType="application/vnd.openxmlformats-officedocument.presentationml.notesSlide+xml"/>
  <Override PartName="/ppt/tags/tag700.xml" ContentType="application/vnd.openxmlformats-officedocument.presentationml.tags+xml"/>
  <Override PartName="/ppt/notesSlides/notesSlide45.xml" ContentType="application/vnd.openxmlformats-officedocument.presentationml.notesSlide+xml"/>
  <Override PartName="/ppt/tags/tag701.xml" ContentType="application/vnd.openxmlformats-officedocument.presentationml.tags+xml"/>
  <Override PartName="/ppt/notesSlides/notesSlide46.xml" ContentType="application/vnd.openxmlformats-officedocument.presentationml.notesSlide+xml"/>
  <Override PartName="/ppt/tags/tag702.xml" ContentType="application/vnd.openxmlformats-officedocument.presentationml.tags+xml"/>
  <Override PartName="/ppt/notesSlides/notesSlide47.xml" ContentType="application/vnd.openxmlformats-officedocument.presentationml.notesSlide+xml"/>
  <Override PartName="/ppt/tags/tag703.xml" ContentType="application/vnd.openxmlformats-officedocument.presentationml.tags+xml"/>
  <Override PartName="/ppt/notesSlides/notesSlide48.xml" ContentType="application/vnd.openxmlformats-officedocument.presentationml.notesSlide+xml"/>
  <Override PartName="/ppt/tags/tag704.xml" ContentType="application/vnd.openxmlformats-officedocument.presentationml.tags+xml"/>
  <Override PartName="/ppt/notesSlides/notesSlide49.xml" ContentType="application/vnd.openxmlformats-officedocument.presentationml.notesSlide+xml"/>
  <Override PartName="/ppt/tags/tag705.xml" ContentType="application/vnd.openxmlformats-officedocument.presentationml.tags+xml"/>
  <Override PartName="/ppt/notesSlides/notesSlide50.xml" ContentType="application/vnd.openxmlformats-officedocument.presentationml.notesSlide+xml"/>
  <Override PartName="/ppt/tags/tag706.xml" ContentType="application/vnd.openxmlformats-officedocument.presentationml.tags+xml"/>
  <Override PartName="/ppt/notesSlides/notesSlide51.xml" ContentType="application/vnd.openxmlformats-officedocument.presentationml.notesSlide+xml"/>
  <Override PartName="/ppt/tags/tag707.xml" ContentType="application/vnd.openxmlformats-officedocument.presentationml.tags+xml"/>
  <Override PartName="/ppt/notesSlides/notesSlide52.xml" ContentType="application/vnd.openxmlformats-officedocument.presentationml.notesSlide+xml"/>
  <Override PartName="/ppt/tags/tag708.xml" ContentType="application/vnd.openxmlformats-officedocument.presentationml.tags+xml"/>
  <Override PartName="/ppt/notesSlides/notesSlide53.xml" ContentType="application/vnd.openxmlformats-officedocument.presentationml.notesSlide+xml"/>
  <Override PartName="/ppt/tags/tag709.xml" ContentType="application/vnd.openxmlformats-officedocument.presentationml.tags+xml"/>
  <Override PartName="/ppt/notesSlides/notesSlide54.xml" ContentType="application/vnd.openxmlformats-officedocument.presentationml.notesSlide+xml"/>
  <Override PartName="/ppt/tags/tag710.xml" ContentType="application/vnd.openxmlformats-officedocument.presentationml.tags+xml"/>
  <Override PartName="/ppt/notesSlides/notesSlide55.xml" ContentType="application/vnd.openxmlformats-officedocument.presentationml.notesSlide+xml"/>
  <Override PartName="/ppt/tags/tag711.xml" ContentType="application/vnd.openxmlformats-officedocument.presentationml.tags+xml"/>
  <Override PartName="/ppt/notesSlides/notesSlide56.xml" ContentType="application/vnd.openxmlformats-officedocument.presentationml.notesSlide+xml"/>
  <Override PartName="/ppt/tags/tag712.xml" ContentType="application/vnd.openxmlformats-officedocument.presentationml.tags+xml"/>
  <Override PartName="/ppt/notesSlides/notesSlide57.xml" ContentType="application/vnd.openxmlformats-officedocument.presentationml.notesSlide+xml"/>
  <Override PartName="/ppt/tags/tag713.xml" ContentType="application/vnd.openxmlformats-officedocument.presentationml.tags+xml"/>
  <Override PartName="/ppt/notesSlides/notesSlide58.xml" ContentType="application/vnd.openxmlformats-officedocument.presentationml.notesSlide+xml"/>
  <Override PartName="/ppt/tags/tag714.xml" ContentType="application/vnd.openxmlformats-officedocument.presentationml.tags+xml"/>
  <Override PartName="/ppt/notesSlides/notesSlide59.xml" ContentType="application/vnd.openxmlformats-officedocument.presentationml.notesSlide+xml"/>
  <Override PartName="/ppt/tags/tag715.xml" ContentType="application/vnd.openxmlformats-officedocument.presentationml.tags+xml"/>
  <Override PartName="/ppt/notesSlides/notesSlide60.xml" ContentType="application/vnd.openxmlformats-officedocument.presentationml.notesSlide+xml"/>
  <Override PartName="/ppt/tags/tag716.xml" ContentType="application/vnd.openxmlformats-officedocument.presentationml.tags+xml"/>
  <Override PartName="/ppt/notesSlides/notesSlide61.xml" ContentType="application/vnd.openxmlformats-officedocument.presentationml.notesSlide+xml"/>
  <Override PartName="/ppt/tags/tag717.xml" ContentType="application/vnd.openxmlformats-officedocument.presentationml.tags+xml"/>
  <Override PartName="/ppt/notesSlides/notesSlide62.xml" ContentType="application/vnd.openxmlformats-officedocument.presentationml.notesSlide+xml"/>
  <Override PartName="/ppt/tags/tag718.xml" ContentType="application/vnd.openxmlformats-officedocument.presentationml.tags+xml"/>
  <Override PartName="/ppt/notesSlides/notesSlide63.xml" ContentType="application/vnd.openxmlformats-officedocument.presentationml.notesSlide+xml"/>
  <Override PartName="/ppt/tags/tag719.xml" ContentType="application/vnd.openxmlformats-officedocument.presentationml.tags+xml"/>
  <Override PartName="/ppt/notesSlides/notesSlide64.xml" ContentType="application/vnd.openxmlformats-officedocument.presentationml.notesSlide+xml"/>
  <Override PartName="/ppt/tags/tag720.xml" ContentType="application/vnd.openxmlformats-officedocument.presentationml.tags+xml"/>
  <Override PartName="/ppt/notesSlides/notesSlide65.xml" ContentType="application/vnd.openxmlformats-officedocument.presentationml.notesSlide+xml"/>
  <Override PartName="/ppt/tags/tag721.xml" ContentType="application/vnd.openxmlformats-officedocument.presentationml.tags+xml"/>
  <Override PartName="/ppt/notesSlides/notesSlide66.xml" ContentType="application/vnd.openxmlformats-officedocument.presentationml.notesSlide+xml"/>
  <Override PartName="/ppt/tags/tag722.xml" ContentType="application/vnd.openxmlformats-officedocument.presentationml.tags+xml"/>
  <Override PartName="/ppt/notesSlides/notesSlide67.xml" ContentType="application/vnd.openxmlformats-officedocument.presentationml.notesSlide+xml"/>
  <Override PartName="/ppt/charts/chart808.xml" ContentType="application/vnd.openxmlformats-officedocument.drawingml.chart+xml"/>
  <Override PartName="/ppt/charts/style1.xml" ContentType="application/vnd.ms-office.chartstyle+xml"/>
  <Override PartName="/ppt/charts/colors1.xml" ContentType="application/vnd.ms-office.chartcolorstyle+xml"/>
  <Override PartName="/ppt/tags/tag723.xml" ContentType="application/vnd.openxmlformats-officedocument.presentationml.tags+xml"/>
  <Override PartName="/ppt/notesSlides/notesSlide68.xml" ContentType="application/vnd.openxmlformats-officedocument.presentationml.notesSlide+xml"/>
  <Override PartName="/ppt/charts/chart809.xml" ContentType="application/vnd.openxmlformats-officedocument.drawingml.chart+xml"/>
  <Override PartName="/ppt/charts/style2.xml" ContentType="application/vnd.ms-office.chartstyle+xml"/>
  <Override PartName="/ppt/charts/colors2.xml" ContentType="application/vnd.ms-office.chartcolorstyle+xml"/>
  <Override PartName="/ppt/tags/tag724.xml" ContentType="application/vnd.openxmlformats-officedocument.presentationml.tags+xml"/>
  <Override PartName="/ppt/notesSlides/notesSlide69.xml" ContentType="application/vnd.openxmlformats-officedocument.presentationml.notesSlide+xml"/>
  <Override PartName="/ppt/charts/chart810.xml" ContentType="application/vnd.openxmlformats-officedocument.drawingml.chart+xml"/>
  <Override PartName="/ppt/charts/style3.xml" ContentType="application/vnd.ms-office.chartstyle+xml"/>
  <Override PartName="/ppt/charts/colors3.xml" ContentType="application/vnd.ms-office.chartcolorstyle+xml"/>
  <Override PartName="/ppt/tags/tag725.xml" ContentType="application/vnd.openxmlformats-officedocument.presentationml.tags+xml"/>
  <Override PartName="/ppt/notesSlides/notesSlide70.xml" ContentType="application/vnd.openxmlformats-officedocument.presentationml.notesSlide+xml"/>
  <Override PartName="/ppt/charts/chart811.xml" ContentType="application/vnd.openxmlformats-officedocument.drawingml.chart+xml"/>
  <Override PartName="/ppt/charts/style4.xml" ContentType="application/vnd.ms-office.chartstyle+xml"/>
  <Override PartName="/ppt/charts/colors4.xml" ContentType="application/vnd.ms-office.chartcolorstyle+xml"/>
  <Override PartName="/ppt/tags/tag726.xml" ContentType="application/vnd.openxmlformats-officedocument.presentationml.tags+xml"/>
  <Override PartName="/ppt/notesSlides/notesSlide71.xml" ContentType="application/vnd.openxmlformats-officedocument.presentationml.notesSlide+xml"/>
  <Override PartName="/ppt/charts/chart812.xml" ContentType="application/vnd.openxmlformats-officedocument.drawingml.chart+xml"/>
  <Override PartName="/ppt/charts/style5.xml" ContentType="application/vnd.ms-office.chartstyle+xml"/>
  <Override PartName="/ppt/charts/colors5.xml" ContentType="application/vnd.ms-office.chartcolorstyle+xml"/>
  <Override PartName="/ppt/tags/tag727.xml" ContentType="application/vnd.openxmlformats-officedocument.presentationml.tags+xml"/>
  <Override PartName="/ppt/notesSlides/notesSlide72.xml" ContentType="application/vnd.openxmlformats-officedocument.presentationml.notesSlide+xml"/>
  <Override PartName="/ppt/charts/chart813.xml" ContentType="application/vnd.openxmlformats-officedocument.drawingml.chart+xml"/>
  <Override PartName="/ppt/charts/style6.xml" ContentType="application/vnd.ms-office.chartstyle+xml"/>
  <Override PartName="/ppt/charts/colors6.xml" ContentType="application/vnd.ms-office.chartcolorstyle+xml"/>
  <Override PartName="/ppt/tags/tag728.xml" ContentType="application/vnd.openxmlformats-officedocument.presentationml.tags+xml"/>
  <Override PartName="/ppt/notesSlides/notesSlide73.xml" ContentType="application/vnd.openxmlformats-officedocument.presentationml.notesSlide+xml"/>
  <Override PartName="/ppt/charts/chart814.xml" ContentType="application/vnd.openxmlformats-officedocument.drawingml.chart+xml"/>
  <Override PartName="/ppt/charts/style7.xml" ContentType="application/vnd.ms-office.chartstyle+xml"/>
  <Override PartName="/ppt/charts/colors7.xml" ContentType="application/vnd.ms-office.chartcolorstyle+xml"/>
  <Override PartName="/ppt/tags/tag729.xml" ContentType="application/vnd.openxmlformats-officedocument.presentationml.tags+xml"/>
  <Override PartName="/ppt/notesSlides/notesSlide74.xml" ContentType="application/vnd.openxmlformats-officedocument.presentationml.notesSlide+xml"/>
  <Override PartName="/ppt/charts/chart815.xml" ContentType="application/vnd.openxmlformats-officedocument.drawingml.chart+xml"/>
  <Override PartName="/ppt/charts/style8.xml" ContentType="application/vnd.ms-office.chartstyle+xml"/>
  <Override PartName="/ppt/charts/colors8.xml" ContentType="application/vnd.ms-office.chartcolorstyle+xml"/>
  <Override PartName="/ppt/tags/tag730.xml" ContentType="application/vnd.openxmlformats-officedocument.presentationml.tags+xml"/>
  <Override PartName="/ppt/notesSlides/notesSlide75.xml" ContentType="application/vnd.openxmlformats-officedocument.presentationml.notesSlide+xml"/>
  <Override PartName="/ppt/charts/chart816.xml" ContentType="application/vnd.openxmlformats-officedocument.drawingml.chart+xml"/>
  <Override PartName="/ppt/charts/style9.xml" ContentType="application/vnd.ms-office.chartstyle+xml"/>
  <Override PartName="/ppt/charts/colors9.xml" ContentType="application/vnd.ms-office.chartcolorstyle+xml"/>
  <Override PartName="/ppt/tags/tag731.xml" ContentType="application/vnd.openxmlformats-officedocument.presentationml.tags+xml"/>
  <Override PartName="/ppt/notesSlides/notesSlide76.xml" ContentType="application/vnd.openxmlformats-officedocument.presentationml.notesSlide+xml"/>
  <Override PartName="/ppt/charts/chart817.xml" ContentType="application/vnd.openxmlformats-officedocument.drawingml.chart+xml"/>
  <Override PartName="/ppt/charts/style10.xml" ContentType="application/vnd.ms-office.chartstyle+xml"/>
  <Override PartName="/ppt/charts/colors10.xml" ContentType="application/vnd.ms-office.chartcolorstyle+xml"/>
  <Override PartName="/ppt/tags/tag732.xml" ContentType="application/vnd.openxmlformats-officedocument.presentationml.tags+xml"/>
  <Override PartName="/ppt/notesSlides/notesSlide77.xml" ContentType="application/vnd.openxmlformats-officedocument.presentationml.notesSlide+xml"/>
  <Override PartName="/ppt/charts/chart818.xml" ContentType="application/vnd.openxmlformats-officedocument.drawingml.chart+xml"/>
  <Override PartName="/ppt/charts/style11.xml" ContentType="application/vnd.ms-office.chartstyle+xml"/>
  <Override PartName="/ppt/charts/colors11.xml" ContentType="application/vnd.ms-office.chartcolorstyle+xml"/>
  <Override PartName="/ppt/tags/tag733.xml" ContentType="application/vnd.openxmlformats-officedocument.presentationml.tags+xml"/>
  <Override PartName="/ppt/notesSlides/notesSlide78.xml" ContentType="application/vnd.openxmlformats-officedocument.presentationml.notesSlide+xml"/>
  <Override PartName="/ppt/charts/chart819.xml" ContentType="application/vnd.openxmlformats-officedocument.drawingml.chart+xml"/>
  <Override PartName="/ppt/charts/style12.xml" ContentType="application/vnd.ms-office.chartstyle+xml"/>
  <Override PartName="/ppt/charts/colors12.xml" ContentType="application/vnd.ms-office.chartcolorstyle+xml"/>
  <Override PartName="/ppt/tags/tag734.xml" ContentType="application/vnd.openxmlformats-officedocument.presentationml.tags+xml"/>
  <Override PartName="/ppt/notesSlides/notesSlide79.xml" ContentType="application/vnd.openxmlformats-officedocument.presentationml.notesSlide+xml"/>
  <Override PartName="/ppt/charts/chart820.xml" ContentType="application/vnd.openxmlformats-officedocument.drawingml.chart+xml"/>
  <Override PartName="/ppt/charts/style13.xml" ContentType="application/vnd.ms-office.chartstyle+xml"/>
  <Override PartName="/ppt/charts/colors13.xml" ContentType="application/vnd.ms-office.chartcolorstyle+xml"/>
  <Override PartName="/ppt/tags/tag735.xml" ContentType="application/vnd.openxmlformats-officedocument.presentationml.tags+xml"/>
  <Override PartName="/ppt/notesSlides/notesSlide80.xml" ContentType="application/vnd.openxmlformats-officedocument.presentationml.notesSlide+xml"/>
  <Override PartName="/ppt/charts/chart821.xml" ContentType="application/vnd.openxmlformats-officedocument.drawingml.chart+xml"/>
  <Override PartName="/ppt/charts/style14.xml" ContentType="application/vnd.ms-office.chartstyle+xml"/>
  <Override PartName="/ppt/charts/colors14.xml" ContentType="application/vnd.ms-office.chartcolorstyle+xml"/>
  <Override PartName="/ppt/tags/tag736.xml" ContentType="application/vnd.openxmlformats-officedocument.presentationml.tags+xml"/>
  <Override PartName="/ppt/notesSlides/notesSlide81.xml" ContentType="application/vnd.openxmlformats-officedocument.presentationml.notesSlide+xml"/>
  <Override PartName="/ppt/charts/chart822.xml" ContentType="application/vnd.openxmlformats-officedocument.drawingml.chart+xml"/>
  <Override PartName="/ppt/charts/style15.xml" ContentType="application/vnd.ms-office.chartstyle+xml"/>
  <Override PartName="/ppt/charts/colors15.xml" ContentType="application/vnd.ms-office.chartcolorstyle+xml"/>
  <Override PartName="/ppt/tags/tag737.xml" ContentType="application/vnd.openxmlformats-officedocument.presentationml.tags+xml"/>
  <Override PartName="/ppt/notesSlides/notesSlide82.xml" ContentType="application/vnd.openxmlformats-officedocument.presentationml.notesSlide+xml"/>
  <Override PartName="/ppt/charts/chart823.xml" ContentType="application/vnd.openxmlformats-officedocument.drawingml.chart+xml"/>
  <Override PartName="/ppt/charts/style16.xml" ContentType="application/vnd.ms-office.chartstyle+xml"/>
  <Override PartName="/ppt/charts/colors16.xml" ContentType="application/vnd.ms-office.chartcolorstyle+xml"/>
  <Override PartName="/ppt/tags/tag738.xml" ContentType="application/vnd.openxmlformats-officedocument.presentationml.tags+xml"/>
  <Override PartName="/ppt/notesSlides/notesSlide83.xml" ContentType="application/vnd.openxmlformats-officedocument.presentationml.notesSlide+xml"/>
  <Override PartName="/ppt/charts/chart824.xml" ContentType="application/vnd.openxmlformats-officedocument.drawingml.chart+xml"/>
  <Override PartName="/ppt/charts/style17.xml" ContentType="application/vnd.ms-office.chartstyle+xml"/>
  <Override PartName="/ppt/charts/colors17.xml" ContentType="application/vnd.ms-office.chartcolorstyle+xml"/>
  <Override PartName="/ppt/tags/tag739.xml" ContentType="application/vnd.openxmlformats-officedocument.presentationml.tags+xml"/>
  <Override PartName="/ppt/notesSlides/notesSlide84.xml" ContentType="application/vnd.openxmlformats-officedocument.presentationml.notesSlide+xml"/>
  <Override PartName="/ppt/charts/chart825.xml" ContentType="application/vnd.openxmlformats-officedocument.drawingml.chart+xml"/>
  <Override PartName="/ppt/charts/style18.xml" ContentType="application/vnd.ms-office.chartstyle+xml"/>
  <Override PartName="/ppt/charts/colors18.xml" ContentType="application/vnd.ms-office.chartcolorstyle+xml"/>
  <Override PartName="/ppt/tags/tag740.xml" ContentType="application/vnd.openxmlformats-officedocument.presentationml.tags+xml"/>
  <Override PartName="/ppt/notesSlides/notesSlide85.xml" ContentType="application/vnd.openxmlformats-officedocument.presentationml.notesSlide+xml"/>
  <Override PartName="/ppt/charts/chart826.xml" ContentType="application/vnd.openxmlformats-officedocument.drawingml.chart+xml"/>
  <Override PartName="/ppt/charts/style19.xml" ContentType="application/vnd.ms-office.chartstyle+xml"/>
  <Override PartName="/ppt/charts/colors19.xml" ContentType="application/vnd.ms-office.chartcolorstyle+xml"/>
  <Override PartName="/ppt/tags/tag741.xml" ContentType="application/vnd.openxmlformats-officedocument.presentationml.tags+xml"/>
  <Override PartName="/ppt/notesSlides/notesSlide86.xml" ContentType="application/vnd.openxmlformats-officedocument.presentationml.notesSlide+xml"/>
  <Override PartName="/ppt/charts/chart827.xml" ContentType="application/vnd.openxmlformats-officedocument.drawingml.chart+xml"/>
  <Override PartName="/ppt/charts/style20.xml" ContentType="application/vnd.ms-office.chartstyle+xml"/>
  <Override PartName="/ppt/charts/colors20.xml" ContentType="application/vnd.ms-office.chartcolorstyle+xml"/>
  <Override PartName="/ppt/tags/tag742.xml" ContentType="application/vnd.openxmlformats-officedocument.presentationml.tags+xml"/>
  <Override PartName="/ppt/notesSlides/notesSlide87.xml" ContentType="application/vnd.openxmlformats-officedocument.presentationml.notesSlide+xml"/>
  <Override PartName="/ppt/charts/chart828.xml" ContentType="application/vnd.openxmlformats-officedocument.drawingml.chart+xml"/>
  <Override PartName="/ppt/charts/style21.xml" ContentType="application/vnd.ms-office.chartstyle+xml"/>
  <Override PartName="/ppt/charts/colors21.xml" ContentType="application/vnd.ms-office.chartcolorstyle+xml"/>
  <Override PartName="/ppt/tags/tag743.xml" ContentType="application/vnd.openxmlformats-officedocument.presentationml.tags+xml"/>
  <Override PartName="/ppt/notesSlides/notesSlide88.xml" ContentType="application/vnd.openxmlformats-officedocument.presentationml.notesSlide+xml"/>
  <Override PartName="/ppt/charts/chart829.xml" ContentType="application/vnd.openxmlformats-officedocument.drawingml.chart+xml"/>
  <Override PartName="/ppt/charts/style22.xml" ContentType="application/vnd.ms-office.chartstyle+xml"/>
  <Override PartName="/ppt/charts/colors22.xml" ContentType="application/vnd.ms-office.chartcolorstyle+xml"/>
  <Override PartName="/ppt/tags/tag744.xml" ContentType="application/vnd.openxmlformats-officedocument.presentationml.tags+xml"/>
  <Override PartName="/ppt/notesSlides/notesSlide89.xml" ContentType="application/vnd.openxmlformats-officedocument.presentationml.notesSlide+xml"/>
  <Override PartName="/ppt/charts/chart830.xml" ContentType="application/vnd.openxmlformats-officedocument.drawingml.chart+xml"/>
  <Override PartName="/ppt/charts/style23.xml" ContentType="application/vnd.ms-office.chartstyle+xml"/>
  <Override PartName="/ppt/charts/colors23.xml" ContentType="application/vnd.ms-office.chartcolorstyle+xml"/>
  <Override PartName="/ppt/tags/tag745.xml" ContentType="application/vnd.openxmlformats-officedocument.presentationml.tags+xml"/>
  <Override PartName="/ppt/notesSlides/notesSlide90.xml" ContentType="application/vnd.openxmlformats-officedocument.presentationml.notesSlide+xml"/>
  <Override PartName="/ppt/charts/chart831.xml" ContentType="application/vnd.openxmlformats-officedocument.drawingml.chart+xml"/>
  <Override PartName="/ppt/charts/style24.xml" ContentType="application/vnd.ms-office.chartstyle+xml"/>
  <Override PartName="/ppt/charts/colors24.xml" ContentType="application/vnd.ms-office.chartcolorstyle+xml"/>
  <Override PartName="/ppt/tags/tag746.xml" ContentType="application/vnd.openxmlformats-officedocument.presentationml.tags+xml"/>
  <Override PartName="/ppt/notesSlides/notesSlide91.xml" ContentType="application/vnd.openxmlformats-officedocument.presentationml.notesSlide+xml"/>
  <Override PartName="/ppt/charts/chart832.xml" ContentType="application/vnd.openxmlformats-officedocument.drawingml.chart+xml"/>
  <Override PartName="/ppt/charts/style25.xml" ContentType="application/vnd.ms-office.chartstyle+xml"/>
  <Override PartName="/ppt/charts/colors25.xml" ContentType="application/vnd.ms-office.chartcolorstyle+xml"/>
  <Override PartName="/ppt/tags/tag747.xml" ContentType="application/vnd.openxmlformats-officedocument.presentationml.tags+xml"/>
  <Override PartName="/ppt/notesSlides/notesSlide92.xml" ContentType="application/vnd.openxmlformats-officedocument.presentationml.notesSlide+xml"/>
  <Override PartName="/ppt/charts/chart833.xml" ContentType="application/vnd.openxmlformats-officedocument.drawingml.chart+xml"/>
  <Override PartName="/ppt/charts/style26.xml" ContentType="application/vnd.ms-office.chartstyle+xml"/>
  <Override PartName="/ppt/charts/colors26.xml" ContentType="application/vnd.ms-office.chartcolorstyle+xml"/>
  <Override PartName="/ppt/tags/tag748.xml" ContentType="application/vnd.openxmlformats-officedocument.presentationml.tags+xml"/>
  <Override PartName="/ppt/notesSlides/notesSlide93.xml" ContentType="application/vnd.openxmlformats-officedocument.presentationml.notesSlide+xml"/>
  <Override PartName="/ppt/charts/chart834.xml" ContentType="application/vnd.openxmlformats-officedocument.drawingml.chart+xml"/>
  <Override PartName="/ppt/charts/style27.xml" ContentType="application/vnd.ms-office.chartstyle+xml"/>
  <Override PartName="/ppt/charts/colors27.xml" ContentType="application/vnd.ms-office.chartcolorstyle+xml"/>
  <Override PartName="/ppt/tags/tag749.xml" ContentType="application/vnd.openxmlformats-officedocument.presentationml.tags+xml"/>
  <Override PartName="/ppt/notesSlides/notesSlide94.xml" ContentType="application/vnd.openxmlformats-officedocument.presentationml.notesSlide+xml"/>
  <Override PartName="/ppt/charts/chart835.xml" ContentType="application/vnd.openxmlformats-officedocument.drawingml.chart+xml"/>
  <Override PartName="/ppt/charts/style28.xml" ContentType="application/vnd.ms-office.chartstyle+xml"/>
  <Override PartName="/ppt/charts/colors28.xml" ContentType="application/vnd.ms-office.chartcolorstyle+xml"/>
  <Override PartName="/ppt/tags/tag750.xml" ContentType="application/vnd.openxmlformats-officedocument.presentationml.tags+xml"/>
  <Override PartName="/ppt/notesSlides/notesSlide95.xml" ContentType="application/vnd.openxmlformats-officedocument.presentationml.notesSlide+xml"/>
  <Override PartName="/ppt/charts/chart836.xml" ContentType="application/vnd.openxmlformats-officedocument.drawingml.chart+xml"/>
  <Override PartName="/ppt/charts/style29.xml" ContentType="application/vnd.ms-office.chartstyle+xml"/>
  <Override PartName="/ppt/charts/colors29.xml" ContentType="application/vnd.ms-office.chartcolorstyle+xml"/>
  <Override PartName="/ppt/tags/tag751.xml" ContentType="application/vnd.openxmlformats-officedocument.presentationml.tags+xml"/>
  <Override PartName="/ppt/notesSlides/notesSlide96.xml" ContentType="application/vnd.openxmlformats-officedocument.presentationml.notesSlide+xml"/>
  <Override PartName="/ppt/charts/chart837.xml" ContentType="application/vnd.openxmlformats-officedocument.drawingml.chart+xml"/>
  <Override PartName="/ppt/charts/style30.xml" ContentType="application/vnd.ms-office.chartstyle+xml"/>
  <Override PartName="/ppt/charts/colors30.xml" ContentType="application/vnd.ms-office.chartcolorstyle+xml"/>
  <Override PartName="/ppt/tags/tag752.xml" ContentType="application/vnd.openxmlformats-officedocument.presentationml.tags+xml"/>
  <Override PartName="/ppt/notesSlides/notesSlide97.xml" ContentType="application/vnd.openxmlformats-officedocument.presentationml.notesSlide+xml"/>
  <Override PartName="/ppt/charts/chart838.xml" ContentType="application/vnd.openxmlformats-officedocument.drawingml.chart+xml"/>
  <Override PartName="/ppt/charts/style31.xml" ContentType="application/vnd.ms-office.chartstyle+xml"/>
  <Override PartName="/ppt/charts/colors31.xml" ContentType="application/vnd.ms-office.chartcolorstyle+xml"/>
  <Override PartName="/ppt/tags/tag753.xml" ContentType="application/vnd.openxmlformats-officedocument.presentationml.tags+xml"/>
  <Override PartName="/ppt/notesSlides/notesSlide98.xml" ContentType="application/vnd.openxmlformats-officedocument.presentationml.notesSlide+xml"/>
  <Override PartName="/ppt/charts/chart839.xml" ContentType="application/vnd.openxmlformats-officedocument.drawingml.chart+xml"/>
  <Override PartName="/ppt/charts/style32.xml" ContentType="application/vnd.ms-office.chartstyle+xml"/>
  <Override PartName="/ppt/charts/colors32.xml" ContentType="application/vnd.ms-office.chartcolorstyle+xml"/>
  <Override PartName="/ppt/tags/tag754.xml" ContentType="application/vnd.openxmlformats-officedocument.presentationml.tags+xml"/>
  <Override PartName="/ppt/notesSlides/notesSlide99.xml" ContentType="application/vnd.openxmlformats-officedocument.presentationml.notesSlide+xml"/>
  <Override PartName="/ppt/charts/chart840.xml" ContentType="application/vnd.openxmlformats-officedocument.drawingml.chart+xml"/>
  <Override PartName="/ppt/charts/style33.xml" ContentType="application/vnd.ms-office.chartstyle+xml"/>
  <Override PartName="/ppt/charts/colors33.xml" ContentType="application/vnd.ms-office.chartcolorstyle+xml"/>
  <Override PartName="/ppt/tags/tag755.xml" ContentType="application/vnd.openxmlformats-officedocument.presentationml.tags+xml"/>
  <Override PartName="/ppt/notesSlides/notesSlide100.xml" ContentType="application/vnd.openxmlformats-officedocument.presentationml.notesSlide+xml"/>
  <Override PartName="/ppt/charts/chart841.xml" ContentType="application/vnd.openxmlformats-officedocument.drawingml.chart+xml"/>
  <Override PartName="/ppt/charts/style34.xml" ContentType="application/vnd.ms-office.chartstyle+xml"/>
  <Override PartName="/ppt/charts/colors34.xml" ContentType="application/vnd.ms-office.chartcolorstyle+xml"/>
  <Override PartName="/ppt/tags/tag756.xml" ContentType="application/vnd.openxmlformats-officedocument.presentationml.tags+xml"/>
  <Override PartName="/ppt/notesSlides/notesSlide101.xml" ContentType="application/vnd.openxmlformats-officedocument.presentationml.notesSlide+xml"/>
  <Override PartName="/ppt/charts/chart842.xml" ContentType="application/vnd.openxmlformats-officedocument.drawingml.chart+xml"/>
  <Override PartName="/ppt/charts/style35.xml" ContentType="application/vnd.ms-office.chartstyle+xml"/>
  <Override PartName="/ppt/charts/colors35.xml" ContentType="application/vnd.ms-office.chartcolorstyle+xml"/>
  <Override PartName="/ppt/tags/tag757.xml" ContentType="application/vnd.openxmlformats-officedocument.presentationml.tags+xml"/>
  <Override PartName="/ppt/notesSlides/notesSlide102.xml" ContentType="application/vnd.openxmlformats-officedocument.presentationml.notesSlide+xml"/>
  <Override PartName="/ppt/charts/chart843.xml" ContentType="application/vnd.openxmlformats-officedocument.drawingml.chart+xml"/>
  <Override PartName="/ppt/charts/style36.xml" ContentType="application/vnd.ms-office.chartstyle+xml"/>
  <Override PartName="/ppt/charts/colors36.xml" ContentType="application/vnd.ms-office.chartcolorstyle+xml"/>
  <Override PartName="/ppt/tags/tag758.xml" ContentType="application/vnd.openxmlformats-officedocument.presentationml.tags+xml"/>
  <Override PartName="/ppt/notesSlides/notesSlide103.xml" ContentType="application/vnd.openxmlformats-officedocument.presentationml.notesSlide+xml"/>
  <Override PartName="/ppt/charts/chart844.xml" ContentType="application/vnd.openxmlformats-officedocument.drawingml.chart+xml"/>
  <Override PartName="/ppt/charts/style37.xml" ContentType="application/vnd.ms-office.chartstyle+xml"/>
  <Override PartName="/ppt/charts/colors37.xml" ContentType="application/vnd.ms-office.chartcolorstyle+xml"/>
  <Override PartName="/ppt/tags/tag759.xml" ContentType="application/vnd.openxmlformats-officedocument.presentationml.tags+xml"/>
  <Override PartName="/ppt/notesSlides/notesSlide104.xml" ContentType="application/vnd.openxmlformats-officedocument.presentationml.notesSlide+xml"/>
  <Override PartName="/ppt/charts/chart845.xml" ContentType="application/vnd.openxmlformats-officedocument.drawingml.chart+xml"/>
  <Override PartName="/ppt/charts/style38.xml" ContentType="application/vnd.ms-office.chartstyle+xml"/>
  <Override PartName="/ppt/charts/colors38.xml" ContentType="application/vnd.ms-office.chartcolorstyle+xml"/>
  <Override PartName="/ppt/tags/tag760.xml" ContentType="application/vnd.openxmlformats-officedocument.presentationml.tags+xml"/>
  <Override PartName="/ppt/notesSlides/notesSlide105.xml" ContentType="application/vnd.openxmlformats-officedocument.presentationml.notesSlide+xml"/>
  <Override PartName="/ppt/charts/chart846.xml" ContentType="application/vnd.openxmlformats-officedocument.drawingml.chart+xml"/>
  <Override PartName="/ppt/charts/style39.xml" ContentType="application/vnd.ms-office.chartstyle+xml"/>
  <Override PartName="/ppt/charts/colors39.xml" ContentType="application/vnd.ms-office.chartcolorstyle+xml"/>
  <Override PartName="/ppt/tags/tag761.xml" ContentType="application/vnd.openxmlformats-officedocument.presentationml.tags+xml"/>
  <Override PartName="/ppt/notesSlides/notesSlide106.xml" ContentType="application/vnd.openxmlformats-officedocument.presentationml.notesSlide+xml"/>
  <Override PartName="/ppt/charts/chart847.xml" ContentType="application/vnd.openxmlformats-officedocument.drawingml.chart+xml"/>
  <Override PartName="/ppt/charts/style40.xml" ContentType="application/vnd.ms-office.chartstyle+xml"/>
  <Override PartName="/ppt/charts/colors40.xml" ContentType="application/vnd.ms-office.chartcolorstyle+xml"/>
  <Override PartName="/ppt/tags/tag762.xml" ContentType="application/vnd.openxmlformats-officedocument.presentationml.tags+xml"/>
  <Override PartName="/ppt/notesSlides/notesSlide107.xml" ContentType="application/vnd.openxmlformats-officedocument.presentationml.notesSlide+xml"/>
  <Override PartName="/ppt/charts/chart848.xml" ContentType="application/vnd.openxmlformats-officedocument.drawingml.chart+xml"/>
  <Override PartName="/ppt/charts/style41.xml" ContentType="application/vnd.ms-office.chartstyle+xml"/>
  <Override PartName="/ppt/charts/colors41.xml" ContentType="application/vnd.ms-office.chartcolorstyle+xml"/>
  <Override PartName="/ppt/tags/tag763.xml" ContentType="application/vnd.openxmlformats-officedocument.presentationml.tags+xml"/>
  <Override PartName="/ppt/notesSlides/notesSlide108.xml" ContentType="application/vnd.openxmlformats-officedocument.presentationml.notesSlide+xml"/>
  <Override PartName="/ppt/charts/chart849.xml" ContentType="application/vnd.openxmlformats-officedocument.drawingml.chart+xml"/>
  <Override PartName="/ppt/charts/style42.xml" ContentType="application/vnd.ms-office.chartstyle+xml"/>
  <Override PartName="/ppt/charts/colors42.xml" ContentType="application/vnd.ms-office.chartcolorstyle+xml"/>
  <Override PartName="/ppt/tags/tag764.xml" ContentType="application/vnd.openxmlformats-officedocument.presentationml.tags+xml"/>
  <Override PartName="/ppt/notesSlides/notesSlide109.xml" ContentType="application/vnd.openxmlformats-officedocument.presentationml.notesSlide+xml"/>
  <Override PartName="/ppt/charts/chart850.xml" ContentType="application/vnd.openxmlformats-officedocument.drawingml.chart+xml"/>
  <Override PartName="/ppt/charts/style43.xml" ContentType="application/vnd.ms-office.chartstyle+xml"/>
  <Override PartName="/ppt/charts/colors43.xml" ContentType="application/vnd.ms-office.chartcolorstyle+xml"/>
  <Override PartName="/ppt/tags/tag765.xml" ContentType="application/vnd.openxmlformats-officedocument.presentationml.tags+xml"/>
  <Override PartName="/ppt/notesSlides/notesSlide110.xml" ContentType="application/vnd.openxmlformats-officedocument.presentationml.notesSlide+xml"/>
  <Override PartName="/ppt/charts/chart851.xml" ContentType="application/vnd.openxmlformats-officedocument.drawingml.chart+xml"/>
  <Override PartName="/ppt/charts/style44.xml" ContentType="application/vnd.ms-office.chartstyle+xml"/>
  <Override PartName="/ppt/charts/colors44.xml" ContentType="application/vnd.ms-office.chartcolorstyle+xml"/>
  <Override PartName="/ppt/tags/tag766.xml" ContentType="application/vnd.openxmlformats-officedocument.presentationml.tags+xml"/>
  <Override PartName="/ppt/notesSlides/notesSlide111.xml" ContentType="application/vnd.openxmlformats-officedocument.presentationml.notesSlide+xml"/>
  <Override PartName="/ppt/charts/chart852.xml" ContentType="application/vnd.openxmlformats-officedocument.drawingml.chart+xml"/>
  <Override PartName="/ppt/charts/style45.xml" ContentType="application/vnd.ms-office.chartstyle+xml"/>
  <Override PartName="/ppt/charts/colors45.xml" ContentType="application/vnd.ms-office.chartcolorstyle+xml"/>
  <Override PartName="/ppt/tags/tag767.xml" ContentType="application/vnd.openxmlformats-officedocument.presentationml.tags+xml"/>
  <Override PartName="/ppt/notesSlides/notesSlide112.xml" ContentType="application/vnd.openxmlformats-officedocument.presentationml.notesSlide+xml"/>
  <Override PartName="/ppt/charts/chart853.xml" ContentType="application/vnd.openxmlformats-officedocument.drawingml.chart+xml"/>
  <Override PartName="/ppt/charts/style46.xml" ContentType="application/vnd.ms-office.chartstyle+xml"/>
  <Override PartName="/ppt/charts/colors46.xml" ContentType="application/vnd.ms-office.chartcolorstyle+xml"/>
  <Override PartName="/ppt/tags/tag768.xml" ContentType="application/vnd.openxmlformats-officedocument.presentationml.tags+xml"/>
  <Override PartName="/ppt/notesSlides/notesSlide113.xml" ContentType="application/vnd.openxmlformats-officedocument.presentationml.notesSlide+xml"/>
  <Override PartName="/ppt/charts/chart854.xml" ContentType="application/vnd.openxmlformats-officedocument.drawingml.chart+xml"/>
  <Override PartName="/ppt/charts/style47.xml" ContentType="application/vnd.ms-office.chartstyle+xml"/>
  <Override PartName="/ppt/charts/colors47.xml" ContentType="application/vnd.ms-office.chartcolorstyle+xml"/>
  <Override PartName="/ppt/tags/tag769.xml" ContentType="application/vnd.openxmlformats-officedocument.presentationml.tags+xml"/>
  <Override PartName="/ppt/notesSlides/notesSlide114.xml" ContentType="application/vnd.openxmlformats-officedocument.presentationml.notesSlide+xml"/>
  <Override PartName="/ppt/charts/chart855.xml" ContentType="application/vnd.openxmlformats-officedocument.drawingml.chart+xml"/>
  <Override PartName="/ppt/charts/style48.xml" ContentType="application/vnd.ms-office.chartstyle+xml"/>
  <Override PartName="/ppt/charts/colors48.xml" ContentType="application/vnd.ms-office.chartcolorstyle+xml"/>
  <Override PartName="/ppt/tags/tag770.xml" ContentType="application/vnd.openxmlformats-officedocument.presentationml.tags+xml"/>
  <Override PartName="/ppt/notesSlides/notesSlide115.xml" ContentType="application/vnd.openxmlformats-officedocument.presentationml.notesSlide+xml"/>
  <Override PartName="/ppt/charts/chart856.xml" ContentType="application/vnd.openxmlformats-officedocument.drawingml.chart+xml"/>
  <Override PartName="/ppt/charts/style49.xml" ContentType="application/vnd.ms-office.chartstyle+xml"/>
  <Override PartName="/ppt/charts/colors49.xml" ContentType="application/vnd.ms-office.chartcolorstyle+xml"/>
  <Override PartName="/ppt/tags/tag771.xml" ContentType="application/vnd.openxmlformats-officedocument.presentationml.tags+xml"/>
  <Override PartName="/ppt/notesSlides/notesSlide116.xml" ContentType="application/vnd.openxmlformats-officedocument.presentationml.notesSlide+xml"/>
  <Override PartName="/ppt/charts/chart857.xml" ContentType="application/vnd.openxmlformats-officedocument.drawingml.chart+xml"/>
  <Override PartName="/ppt/charts/style50.xml" ContentType="application/vnd.ms-office.chartstyle+xml"/>
  <Override PartName="/ppt/charts/colors50.xml" ContentType="application/vnd.ms-office.chartcolorstyle+xml"/>
  <Override PartName="/ppt/tags/tag772.xml" ContentType="application/vnd.openxmlformats-officedocument.presentationml.tags+xml"/>
  <Override PartName="/ppt/notesSlides/notesSlide117.xml" ContentType="application/vnd.openxmlformats-officedocument.presentationml.notesSlide+xml"/>
  <Override PartName="/ppt/charts/chart858.xml" ContentType="application/vnd.openxmlformats-officedocument.drawingml.chart+xml"/>
  <Override PartName="/ppt/charts/style51.xml" ContentType="application/vnd.ms-office.chartstyle+xml"/>
  <Override PartName="/ppt/charts/colors51.xml" ContentType="application/vnd.ms-office.chartcolorstyle+xml"/>
  <Override PartName="/ppt/tags/tag773.xml" ContentType="application/vnd.openxmlformats-officedocument.presentationml.tags+xml"/>
  <Override PartName="/ppt/notesSlides/notesSlide118.xml" ContentType="application/vnd.openxmlformats-officedocument.presentationml.notesSlide+xml"/>
  <Override PartName="/ppt/charts/chart859.xml" ContentType="application/vnd.openxmlformats-officedocument.drawingml.chart+xml"/>
  <Override PartName="/ppt/charts/style52.xml" ContentType="application/vnd.ms-office.chartstyle+xml"/>
  <Override PartName="/ppt/charts/colors52.xml" ContentType="application/vnd.ms-office.chartcolorstyle+xml"/>
  <Override PartName="/ppt/tags/tag774.xml" ContentType="application/vnd.openxmlformats-officedocument.presentationml.tags+xml"/>
  <Override PartName="/ppt/notesSlides/notesSlide119.xml" ContentType="application/vnd.openxmlformats-officedocument.presentationml.notesSlide+xml"/>
  <Override PartName="/ppt/charts/chart860.xml" ContentType="application/vnd.openxmlformats-officedocument.drawingml.chart+xml"/>
  <Override PartName="/ppt/charts/style53.xml" ContentType="application/vnd.ms-office.chartstyle+xml"/>
  <Override PartName="/ppt/charts/colors53.xml" ContentType="application/vnd.ms-office.chartcolorstyle+xml"/>
  <Override PartName="/ppt/tags/tag775.xml" ContentType="application/vnd.openxmlformats-officedocument.presentationml.tags+xml"/>
  <Override PartName="/ppt/notesSlides/notesSlide120.xml" ContentType="application/vnd.openxmlformats-officedocument.presentationml.notesSlide+xml"/>
  <Override PartName="/ppt/charts/chart861.xml" ContentType="application/vnd.openxmlformats-officedocument.drawingml.chart+xml"/>
  <Override PartName="/ppt/charts/style54.xml" ContentType="application/vnd.ms-office.chartstyle+xml"/>
  <Override PartName="/ppt/charts/colors54.xml" ContentType="application/vnd.ms-office.chartcolorstyle+xml"/>
  <Override PartName="/ppt/tags/tag776.xml" ContentType="application/vnd.openxmlformats-officedocument.presentationml.tags+xml"/>
  <Override PartName="/ppt/notesSlides/notesSlide121.xml" ContentType="application/vnd.openxmlformats-officedocument.presentationml.notesSlide+xml"/>
  <Override PartName="/ppt/charts/chart862.xml" ContentType="application/vnd.openxmlformats-officedocument.drawingml.chart+xml"/>
  <Override PartName="/ppt/charts/style55.xml" ContentType="application/vnd.ms-office.chartstyle+xml"/>
  <Override PartName="/ppt/charts/colors55.xml" ContentType="application/vnd.ms-office.chartcolorstyle+xml"/>
  <Override PartName="/ppt/tags/tag777.xml" ContentType="application/vnd.openxmlformats-officedocument.presentationml.tags+xml"/>
  <Override PartName="/ppt/notesSlides/notesSlide122.xml" ContentType="application/vnd.openxmlformats-officedocument.presentationml.notesSlide+xml"/>
  <Override PartName="/ppt/charts/chart863.xml" ContentType="application/vnd.openxmlformats-officedocument.drawingml.chart+xml"/>
  <Override PartName="/ppt/charts/style56.xml" ContentType="application/vnd.ms-office.chartstyle+xml"/>
  <Override PartName="/ppt/charts/colors56.xml" ContentType="application/vnd.ms-office.chartcolorstyle+xml"/>
  <Override PartName="/ppt/tags/tag778.xml" ContentType="application/vnd.openxmlformats-officedocument.presentationml.tags+xml"/>
  <Override PartName="/ppt/notesSlides/notesSlide123.xml" ContentType="application/vnd.openxmlformats-officedocument.presentationml.notesSlide+xml"/>
  <Override PartName="/ppt/charts/chart864.xml" ContentType="application/vnd.openxmlformats-officedocument.drawingml.chart+xml"/>
  <Override PartName="/ppt/charts/style57.xml" ContentType="application/vnd.ms-office.chartstyle+xml"/>
  <Override PartName="/ppt/charts/colors57.xml" ContentType="application/vnd.ms-office.chartcolorstyle+xml"/>
  <Override PartName="/ppt/tags/tag779.xml" ContentType="application/vnd.openxmlformats-officedocument.presentationml.tags+xml"/>
  <Override PartName="/ppt/notesSlides/notesSlide124.xml" ContentType="application/vnd.openxmlformats-officedocument.presentationml.notesSlide+xml"/>
  <Override PartName="/ppt/charts/chart865.xml" ContentType="application/vnd.openxmlformats-officedocument.drawingml.chart+xml"/>
  <Override PartName="/ppt/charts/style58.xml" ContentType="application/vnd.ms-office.chartstyle+xml"/>
  <Override PartName="/ppt/charts/colors58.xml" ContentType="application/vnd.ms-office.chartcolorstyle+xml"/>
  <Override PartName="/ppt/tags/tag780.xml" ContentType="application/vnd.openxmlformats-officedocument.presentationml.tags+xml"/>
  <Override PartName="/ppt/notesSlides/notesSlide125.xml" ContentType="application/vnd.openxmlformats-officedocument.presentationml.notesSlide+xml"/>
  <Override PartName="/ppt/charts/chart866.xml" ContentType="application/vnd.openxmlformats-officedocument.drawingml.chart+xml"/>
  <Override PartName="/ppt/charts/style59.xml" ContentType="application/vnd.ms-office.chartstyle+xml"/>
  <Override PartName="/ppt/charts/colors59.xml" ContentType="application/vnd.ms-office.chartcolorstyle+xml"/>
  <Override PartName="/ppt/tags/tag781.xml" ContentType="application/vnd.openxmlformats-officedocument.presentationml.tags+xml"/>
  <Override PartName="/ppt/notesSlides/notesSlide126.xml" ContentType="application/vnd.openxmlformats-officedocument.presentationml.notesSlide+xml"/>
  <Override PartName="/ppt/charts/chart867.xml" ContentType="application/vnd.openxmlformats-officedocument.drawingml.chart+xml"/>
  <Override PartName="/ppt/charts/style60.xml" ContentType="application/vnd.ms-office.chartstyle+xml"/>
  <Override PartName="/ppt/charts/colors60.xml" ContentType="application/vnd.ms-office.chartcolorstyle+xml"/>
  <Override PartName="/ppt/tags/tag782.xml" ContentType="application/vnd.openxmlformats-officedocument.presentationml.tags+xml"/>
  <Override PartName="/ppt/notesSlides/notesSlide127.xml" ContentType="application/vnd.openxmlformats-officedocument.presentationml.notesSlide+xml"/>
  <Override PartName="/ppt/charts/chart868.xml" ContentType="application/vnd.openxmlformats-officedocument.drawingml.chart+xml"/>
  <Override PartName="/ppt/charts/style61.xml" ContentType="application/vnd.ms-office.chartstyle+xml"/>
  <Override PartName="/ppt/charts/colors61.xml" ContentType="application/vnd.ms-office.chartcolorstyle+xml"/>
  <Override PartName="/ppt/tags/tag783.xml" ContentType="application/vnd.openxmlformats-officedocument.presentationml.tags+xml"/>
  <Override PartName="/ppt/notesSlides/notesSlide128.xml" ContentType="application/vnd.openxmlformats-officedocument.presentationml.notesSlide+xml"/>
  <Override PartName="/ppt/charts/chart869.xml" ContentType="application/vnd.openxmlformats-officedocument.drawingml.chart+xml"/>
  <Override PartName="/ppt/charts/style62.xml" ContentType="application/vnd.ms-office.chartstyle+xml"/>
  <Override PartName="/ppt/charts/colors62.xml" ContentType="application/vnd.ms-office.chartcolorstyle+xml"/>
  <Override PartName="/ppt/tags/tag784.xml" ContentType="application/vnd.openxmlformats-officedocument.presentationml.tags+xml"/>
  <Override PartName="/ppt/notesSlides/notesSlide129.xml" ContentType="application/vnd.openxmlformats-officedocument.presentationml.notesSlide+xml"/>
  <Override PartName="/ppt/charts/chart870.xml" ContentType="application/vnd.openxmlformats-officedocument.drawingml.chart+xml"/>
  <Override PartName="/ppt/charts/style63.xml" ContentType="application/vnd.ms-office.chartstyle+xml"/>
  <Override PartName="/ppt/charts/colors63.xml" ContentType="application/vnd.ms-office.chartcolorstyle+xml"/>
  <Override PartName="/ppt/tags/tag785.xml" ContentType="application/vnd.openxmlformats-officedocument.presentationml.tags+xml"/>
  <Override PartName="/ppt/notesSlides/notesSlide130.xml" ContentType="application/vnd.openxmlformats-officedocument.presentationml.notesSlide+xml"/>
  <Override PartName="/ppt/charts/chart871.xml" ContentType="application/vnd.openxmlformats-officedocument.drawingml.chart+xml"/>
  <Override PartName="/ppt/charts/style64.xml" ContentType="application/vnd.ms-office.chartstyle+xml"/>
  <Override PartName="/ppt/charts/colors64.xml" ContentType="application/vnd.ms-office.chartcolorstyle+xml"/>
  <Override PartName="/ppt/tags/tag786.xml" ContentType="application/vnd.openxmlformats-officedocument.presentationml.tags+xml"/>
  <Override PartName="/ppt/notesSlides/notesSlide131.xml" ContentType="application/vnd.openxmlformats-officedocument.presentationml.notesSlide+xml"/>
  <Override PartName="/ppt/charts/chart872.xml" ContentType="application/vnd.openxmlformats-officedocument.drawingml.chart+xml"/>
  <Override PartName="/ppt/charts/style65.xml" ContentType="application/vnd.ms-office.chartstyle+xml"/>
  <Override PartName="/ppt/charts/colors65.xml" ContentType="application/vnd.ms-office.chartcolorstyle+xml"/>
  <Override PartName="/ppt/tags/tag787.xml" ContentType="application/vnd.openxmlformats-officedocument.presentationml.tags+xml"/>
  <Override PartName="/ppt/notesSlides/notesSlide132.xml" ContentType="application/vnd.openxmlformats-officedocument.presentationml.notesSlide+xml"/>
  <Override PartName="/ppt/charts/chart873.xml" ContentType="application/vnd.openxmlformats-officedocument.drawingml.chart+xml"/>
  <Override PartName="/ppt/charts/style66.xml" ContentType="application/vnd.ms-office.chartstyle+xml"/>
  <Override PartName="/ppt/charts/colors66.xml" ContentType="application/vnd.ms-office.chartcolorstyle+xml"/>
  <Override PartName="/ppt/tags/tag788.xml" ContentType="application/vnd.openxmlformats-officedocument.presentationml.tags+xml"/>
  <Override PartName="/ppt/notesSlides/notesSlide133.xml" ContentType="application/vnd.openxmlformats-officedocument.presentationml.notesSlide+xml"/>
  <Override PartName="/ppt/charts/chart874.xml" ContentType="application/vnd.openxmlformats-officedocument.drawingml.chart+xml"/>
  <Override PartName="/ppt/charts/style67.xml" ContentType="application/vnd.ms-office.chartstyle+xml"/>
  <Override PartName="/ppt/charts/colors67.xml" ContentType="application/vnd.ms-office.chartcolorstyle+xml"/>
  <Override PartName="/ppt/tags/tag789.xml" ContentType="application/vnd.openxmlformats-officedocument.presentationml.tags+xml"/>
  <Override PartName="/ppt/notesSlides/notesSlide134.xml" ContentType="application/vnd.openxmlformats-officedocument.presentationml.notesSlide+xml"/>
  <Override PartName="/ppt/charts/chart875.xml" ContentType="application/vnd.openxmlformats-officedocument.drawingml.chart+xml"/>
  <Override PartName="/ppt/charts/style68.xml" ContentType="application/vnd.ms-office.chartstyle+xml"/>
  <Override PartName="/ppt/charts/colors68.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76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 id="2147477995" r:id="rId635"/>
    <p:sldId id="2147477996" r:id="rId636"/>
    <p:sldId id="2147477997" r:id="rId637"/>
    <p:sldId id="2147477998" r:id="rId638"/>
    <p:sldId id="2147477999" r:id="rId639"/>
    <p:sldId id="2147478000" r:id="rId640"/>
    <p:sldId id="2147478001" r:id="rId641"/>
    <p:sldId id="2147478002" r:id="rId642"/>
    <p:sldId id="2147478003" r:id="rId643"/>
    <p:sldId id="2147478004" r:id="rId644"/>
    <p:sldId id="2147478005" r:id="rId645"/>
    <p:sldId id="2147478006" r:id="rId646"/>
    <p:sldId id="2147478007" r:id="rId647"/>
    <p:sldId id="2147478008" r:id="rId648"/>
    <p:sldId id="2147478009" r:id="rId649"/>
    <p:sldId id="2147478010" r:id="rId650"/>
    <p:sldId id="2147478011" r:id="rId651"/>
    <p:sldId id="2147478012" r:id="rId652"/>
    <p:sldId id="2147478013" r:id="rId653"/>
    <p:sldId id="2147478014" r:id="rId654"/>
    <p:sldId id="2147478015" r:id="rId655"/>
    <p:sldId id="2147478016" r:id="rId656"/>
    <p:sldId id="2147478017" r:id="rId657"/>
    <p:sldId id="2147478018" r:id="rId658"/>
    <p:sldId id="2147478019" r:id="rId659"/>
    <p:sldId id="2147478020" r:id="rId660"/>
    <p:sldId id="2147478021" r:id="rId661"/>
    <p:sldId id="2147478022" r:id="rId662"/>
    <p:sldId id="2147478023" r:id="rId663"/>
    <p:sldId id="2147478024" r:id="rId664"/>
    <p:sldId id="2147478025" r:id="rId665"/>
    <p:sldId id="2147478026" r:id="rId666"/>
    <p:sldId id="2147478027" r:id="rId667"/>
    <p:sldId id="2147478028" r:id="rId668"/>
    <p:sldId id="2147478029" r:id="rId669"/>
    <p:sldId id="2147478030" r:id="rId670"/>
    <p:sldId id="2147478031" r:id="rId671"/>
    <p:sldId id="2147478032" r:id="rId672"/>
    <p:sldId id="2147478033" r:id="rId673"/>
    <p:sldId id="2147478034" r:id="rId674"/>
    <p:sldId id="2147478035" r:id="rId675"/>
    <p:sldId id="2147478036" r:id="rId676"/>
    <p:sldId id="2147478037" r:id="rId677"/>
    <p:sldId id="2147478038" r:id="rId678"/>
    <p:sldId id="2147478039" r:id="rId679"/>
    <p:sldId id="2147478040" r:id="rId680"/>
    <p:sldId id="2147478041" r:id="rId681"/>
    <p:sldId id="2147478042" r:id="rId682"/>
    <p:sldId id="2147478043" r:id="rId683"/>
    <p:sldId id="2147478044" r:id="rId684"/>
    <p:sldId id="2147478045" r:id="rId685"/>
    <p:sldId id="2147478046" r:id="rId686"/>
    <p:sldId id="2147478047" r:id="rId687"/>
    <p:sldId id="2147478048" r:id="rId688"/>
    <p:sldId id="2147478049" r:id="rId689"/>
    <p:sldId id="2147478050" r:id="rId690"/>
    <p:sldId id="2147478051" r:id="rId691"/>
    <p:sldId id="2147478052" r:id="rId692"/>
    <p:sldId id="2147478053" r:id="rId693"/>
    <p:sldId id="2147478054" r:id="rId694"/>
    <p:sldId id="2147478055" r:id="rId695"/>
    <p:sldId id="2147478056" r:id="rId696"/>
    <p:sldId id="2147478057" r:id="rId697"/>
    <p:sldId id="2147478058" r:id="rId698"/>
    <p:sldId id="2147478059" r:id="rId699"/>
    <p:sldId id="2147478060" r:id="rId700"/>
    <p:sldId id="2147478061" r:id="rId701"/>
    <p:sldId id="2147478062" r:id="rId702"/>
    <p:sldId id="2147478063" r:id="rId703"/>
    <p:sldId id="2147478064" r:id="rId704"/>
    <p:sldId id="2147478065" r:id="rId705"/>
    <p:sldId id="2147478066" r:id="rId706"/>
    <p:sldId id="2147478067" r:id="rId707"/>
    <p:sldId id="2147478068" r:id="rId708"/>
    <p:sldId id="2147478069" r:id="rId709"/>
    <p:sldId id="2147478070" r:id="rId710"/>
    <p:sldId id="2147478071" r:id="rId711"/>
    <p:sldId id="2147478072" r:id="rId712"/>
    <p:sldId id="2147478073" r:id="rId713"/>
    <p:sldId id="2147478074" r:id="rId714"/>
    <p:sldId id="2147478075" r:id="rId715"/>
    <p:sldId id="2147478076" r:id="rId716"/>
    <p:sldId id="2147478077" r:id="rId717"/>
    <p:sldId id="2147478078" r:id="rId718"/>
    <p:sldId id="2147478079" r:id="rId719"/>
    <p:sldId id="2147478080" r:id="rId720"/>
    <p:sldId id="2147478081" r:id="rId721"/>
    <p:sldId id="2147478082" r:id="rId722"/>
    <p:sldId id="2147478083" r:id="rId723"/>
    <p:sldId id="2147478084" r:id="rId724"/>
    <p:sldId id="2147478085" r:id="rId725"/>
    <p:sldId id="2147478086" r:id="rId726"/>
    <p:sldId id="2147478087" r:id="rId727"/>
    <p:sldId id="2147478088" r:id="rId728"/>
    <p:sldId id="2147478089" r:id="rId729"/>
    <p:sldId id="2147478090" r:id="rId730"/>
    <p:sldId id="2147478091" r:id="rId731"/>
    <p:sldId id="2147478092" r:id="rId732"/>
    <p:sldId id="2147478093" r:id="rId733"/>
    <p:sldId id="2147478094" r:id="rId734"/>
    <p:sldId id="2147478095" r:id="rId735"/>
    <p:sldId id="2147478096" r:id="rId736"/>
    <p:sldId id="2147478097" r:id="rId737"/>
    <p:sldId id="2147478098" r:id="rId738"/>
    <p:sldId id="2147478099" r:id="rId739"/>
    <p:sldId id="2147478100" r:id="rId740"/>
    <p:sldId id="2147478101" r:id="rId741"/>
    <p:sldId id="2147478102" r:id="rId742"/>
    <p:sldId id="2147478103" r:id="rId743"/>
    <p:sldId id="2147478104" r:id="rId744"/>
    <p:sldId id="2147478105" r:id="rId745"/>
    <p:sldId id="2147478106" r:id="rId746"/>
    <p:sldId id="2147478107" r:id="rId747"/>
    <p:sldId id="2147478108" r:id="rId748"/>
    <p:sldId id="2147478109" r:id="rId749"/>
    <p:sldId id="2147478110" r:id="rId750"/>
    <p:sldId id="2147478111" r:id="rId751"/>
    <p:sldId id="2147478112" r:id="rId752"/>
    <p:sldId id="2147478113" r:id="rId753"/>
    <p:sldId id="2147478114" r:id="rId754"/>
    <p:sldId id="2147478115" r:id="rId755"/>
    <p:sldId id="2147478116" r:id="rId756"/>
    <p:sldId id="2147478117" r:id="rId757"/>
    <p:sldId id="2147478118" r:id="rId758"/>
    <p:sldId id="2147478119" r:id="rId759"/>
    <p:sldId id="2147478120" r:id="rId760"/>
    <p:sldId id="2147478121" r:id="rId761"/>
    <p:sldId id="2147478122" r:id="rId762"/>
    <p:sldId id="2147478123" r:id="rId763"/>
    <p:sldId id="2147478124" r:id="rId764"/>
    <p:sldId id="2147478125" r:id="rId765"/>
    <p:sldId id="2147478126" r:id="rId76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D5914874-4E48-4757-AC8F-9D2FBFAD6B9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 name="Price Positioning Summary Sector" id="{0795E866-68EF-451A-B0ED-B3514B304DB2}">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Price Positioning Summary Segment" id="{6B1242D2-0F2D-4F58-A84B-8F6E3BF6547D}">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Price Positioning Analysis By Brands" id="{D47050D5-F1FB-49EA-8FB8-12157903843A}">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Lst>
        </p14:section>
        <p14:section name="Price Positioning Analysis By Manufacturer" id="{A45FC5FF-1413-45FD-86B3-922F2815AC0D}">
          <p14:sldIdLst>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Lst>
        </p14:section>
        <p14:section name="Sectors Share and Growth By Brands" id="{4471BC14-2B50-401C-98BC-B4CE0353C355}">
          <p14:sldIdLst>
            <p14:sldId id="2147477993"/>
            <p14:sldId id="2147477994"/>
            <p14:sldId id="2147477995"/>
            <p14:sldId id="2147477996"/>
            <p14:sldId id="2147477997"/>
            <p14:sldId id="2147477998"/>
            <p14:sldId id="2147477999"/>
            <p14:sldId id="2147478000"/>
            <p14:sldId id="2147478001"/>
            <p14:sldId id="2147478002"/>
            <p14:sldId id="2147478003"/>
          </p14:sldIdLst>
        </p14:section>
        <p14:section name="Segments Share and Growth By Brands" id="{C3AF053A-D8AB-4EF4-9B5F-3F452F2CC72D}">
          <p14:sldIdLst>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Lst>
        </p14:section>
        <p14:section name="Sectors Share and Growth By Manufacturer" id="{62FE0416-894A-4F44-BE54-758AC35E9F65}">
          <p14:sldIdLst>
            <p14:sldId id="2147478026"/>
            <p14:sldId id="2147478027"/>
            <p14:sldId id="2147478028"/>
            <p14:sldId id="2147478029"/>
            <p14:sldId id="2147478030"/>
            <p14:sldId id="2147478031"/>
            <p14:sldId id="2147478032"/>
            <p14:sldId id="2147478033"/>
            <p14:sldId id="2147478034"/>
            <p14:sldId id="2147478035"/>
            <p14:sldId id="2147478036"/>
          </p14:sldIdLst>
        </p14:section>
        <p14:section name="Segments Share and Growth By Manufacturer" id="{6613E301-3062-4FF2-861E-81B8B94B74AF}">
          <p14:sldIdLst>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Lst>
        </p14:section>
        <p14:section name="Sec/Seg Value Sales Vs Avg Price By Manufacturer" id="{6F8252BC-AB48-4F00-90B1-324E53B1179C}">
          <p14:sldIdLst>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Lst>
        </p14:section>
        <p14:section name="Sec/Seg Value Sales Vs Avg Price" id="{622DAADE-2F5F-4610-8F08-D45DFA4E6FEA}">
          <p14:sldIdLst>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Lst>
        </p14:section>
        <p14:section name="Sectors Value Sales Vs Avg Price" id="{6E85A190-095A-4937-A7C7-8E181F5B1AE3}">
          <p14:sldIdLst>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Lst>
        </p14:section>
        <p14:section name="Segment Value Sales Vs Avg Price" id="{5F6C24C8-2D15-4836-BE6D-9248DAA4E990}">
          <p14:sldIdLst>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326" y="4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viewProps" Target="viewProps.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tableStyles" Target="tableStyles.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428" Type="http://schemas.openxmlformats.org/officeDocument/2006/relationships/slide" Target="slides/slide424.xml"/><Relationship Id="rId635" Type="http://schemas.openxmlformats.org/officeDocument/2006/relationships/slide" Target="slides/slide63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presProps" Target="presProps.xml"/><Relationship Id="rId20" Type="http://schemas.openxmlformats.org/officeDocument/2006/relationships/slide" Target="slides/slide16.xml"/><Relationship Id="rId628" Type="http://schemas.openxmlformats.org/officeDocument/2006/relationships/slide" Target="slides/slide624.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594" Type="http://schemas.openxmlformats.org/officeDocument/2006/relationships/slide" Target="slides/slide590.xml"/><Relationship Id="rId608" Type="http://schemas.openxmlformats.org/officeDocument/2006/relationships/slide" Target="slides/slide60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661" Type="http://schemas.openxmlformats.org/officeDocument/2006/relationships/slide" Target="slides/slide657.xml"/><Relationship Id="rId717" Type="http://schemas.openxmlformats.org/officeDocument/2006/relationships/slide" Target="slides/slide713.xml"/><Relationship Id="rId759" Type="http://schemas.openxmlformats.org/officeDocument/2006/relationships/slide" Target="slides/slide75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619" Type="http://schemas.openxmlformats.org/officeDocument/2006/relationships/slide" Target="slides/slide615.xml"/><Relationship Id="rId770" Type="http://schemas.openxmlformats.org/officeDocument/2006/relationships/theme" Target="theme/theme1.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630" Type="http://schemas.openxmlformats.org/officeDocument/2006/relationships/slide" Target="slides/slide626.xml"/><Relationship Id="rId672" Type="http://schemas.openxmlformats.org/officeDocument/2006/relationships/slide" Target="slides/slide668.xml"/><Relationship Id="rId728" Type="http://schemas.openxmlformats.org/officeDocument/2006/relationships/slide" Target="slides/slide72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641" Type="http://schemas.openxmlformats.org/officeDocument/2006/relationships/slide" Target="slides/slide637.xml"/><Relationship Id="rId683" Type="http://schemas.openxmlformats.org/officeDocument/2006/relationships/slide" Target="slides/slide679.xml"/><Relationship Id="rId739" Type="http://schemas.openxmlformats.org/officeDocument/2006/relationships/slide" Target="slides/slide73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750" Type="http://schemas.openxmlformats.org/officeDocument/2006/relationships/slide" Target="slides/slide746.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652" Type="http://schemas.openxmlformats.org/officeDocument/2006/relationships/slide" Target="slides/slide648.xml"/><Relationship Id="rId694" Type="http://schemas.openxmlformats.org/officeDocument/2006/relationships/slide" Target="slides/slide690.xml"/><Relationship Id="rId708" Type="http://schemas.openxmlformats.org/officeDocument/2006/relationships/slide" Target="slides/slide70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slide" Target="slides/slide617.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719" Type="http://schemas.openxmlformats.org/officeDocument/2006/relationships/slide" Target="slides/slide715.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30" Type="http://schemas.openxmlformats.org/officeDocument/2006/relationships/slide" Target="slides/slide726.xml"/><Relationship Id="rId772" Type="http://schemas.microsoft.com/office/2015/10/relationships/revisionInfo" Target="revisionInfo.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notesMaster" Target="notesMasters/notesMaster1.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637" Type="http://schemas.openxmlformats.org/officeDocument/2006/relationships/slide" Target="slides/slide63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3" Type="http://schemas.openxmlformats.org/officeDocument/2006/relationships/package" Target="../embeddings/Microsoft_Excel_Worksheet807.xlsx"/><Relationship Id="rId2" Type="http://schemas.microsoft.com/office/2011/relationships/chartColorStyle" Target="colors1.xml"/><Relationship Id="rId1" Type="http://schemas.microsoft.com/office/2011/relationships/chartStyle" Target="style1.xml"/></Relationships>
</file>

<file path=ppt/charts/_rels/chart809.xml.rels><?xml version="1.0" encoding="UTF-8" standalone="yes"?>
<Relationships xmlns="http://schemas.openxmlformats.org/package/2006/relationships"><Relationship Id="rId3" Type="http://schemas.openxmlformats.org/officeDocument/2006/relationships/package" Target="../embeddings/Microsoft_Excel_Worksheet808.xlsx"/><Relationship Id="rId2" Type="http://schemas.microsoft.com/office/2011/relationships/chartColorStyle" Target="colors2.xml"/><Relationship Id="rId1" Type="http://schemas.microsoft.com/office/2011/relationships/chartStyle" Target="style2.xml"/></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3" Type="http://schemas.openxmlformats.org/officeDocument/2006/relationships/package" Target="../embeddings/Microsoft_Excel_Worksheet809.xlsx"/><Relationship Id="rId2" Type="http://schemas.microsoft.com/office/2011/relationships/chartColorStyle" Target="colors3.xml"/><Relationship Id="rId1" Type="http://schemas.microsoft.com/office/2011/relationships/chartStyle" Target="style3.xml"/></Relationships>
</file>

<file path=ppt/charts/_rels/chart811.xml.rels><?xml version="1.0" encoding="UTF-8" standalone="yes"?>
<Relationships xmlns="http://schemas.openxmlformats.org/package/2006/relationships"><Relationship Id="rId3" Type="http://schemas.openxmlformats.org/officeDocument/2006/relationships/package" Target="../embeddings/Microsoft_Excel_Worksheet810.xlsx"/><Relationship Id="rId2" Type="http://schemas.microsoft.com/office/2011/relationships/chartColorStyle" Target="colors4.xml"/><Relationship Id="rId1" Type="http://schemas.microsoft.com/office/2011/relationships/chartStyle" Target="style4.xml"/></Relationships>
</file>

<file path=ppt/charts/_rels/chart812.xml.rels><?xml version="1.0" encoding="UTF-8" standalone="yes"?>
<Relationships xmlns="http://schemas.openxmlformats.org/package/2006/relationships"><Relationship Id="rId3" Type="http://schemas.openxmlformats.org/officeDocument/2006/relationships/package" Target="../embeddings/Microsoft_Excel_Worksheet811.xlsx"/><Relationship Id="rId2" Type="http://schemas.microsoft.com/office/2011/relationships/chartColorStyle" Target="colors5.xml"/><Relationship Id="rId1" Type="http://schemas.microsoft.com/office/2011/relationships/chartStyle" Target="style5.xml"/></Relationships>
</file>

<file path=ppt/charts/_rels/chart813.xml.rels><?xml version="1.0" encoding="UTF-8" standalone="yes"?>
<Relationships xmlns="http://schemas.openxmlformats.org/package/2006/relationships"><Relationship Id="rId3" Type="http://schemas.openxmlformats.org/officeDocument/2006/relationships/package" Target="../embeddings/Microsoft_Excel_Worksheet812.xlsx"/><Relationship Id="rId2" Type="http://schemas.microsoft.com/office/2011/relationships/chartColorStyle" Target="colors6.xml"/><Relationship Id="rId1" Type="http://schemas.microsoft.com/office/2011/relationships/chartStyle" Target="style6.xml"/></Relationships>
</file>

<file path=ppt/charts/_rels/chart814.xml.rels><?xml version="1.0" encoding="UTF-8" standalone="yes"?>
<Relationships xmlns="http://schemas.openxmlformats.org/package/2006/relationships"><Relationship Id="rId3" Type="http://schemas.openxmlformats.org/officeDocument/2006/relationships/package" Target="../embeddings/Microsoft_Excel_Worksheet813.xlsx"/><Relationship Id="rId2" Type="http://schemas.microsoft.com/office/2011/relationships/chartColorStyle" Target="colors7.xml"/><Relationship Id="rId1" Type="http://schemas.microsoft.com/office/2011/relationships/chartStyle" Target="style7.xml"/></Relationships>
</file>

<file path=ppt/charts/_rels/chart815.xml.rels><?xml version="1.0" encoding="UTF-8" standalone="yes"?>
<Relationships xmlns="http://schemas.openxmlformats.org/package/2006/relationships"><Relationship Id="rId3" Type="http://schemas.openxmlformats.org/officeDocument/2006/relationships/package" Target="../embeddings/Microsoft_Excel_Worksheet814.xlsx"/><Relationship Id="rId2" Type="http://schemas.microsoft.com/office/2011/relationships/chartColorStyle" Target="colors8.xml"/><Relationship Id="rId1" Type="http://schemas.microsoft.com/office/2011/relationships/chartStyle" Target="style8.xml"/></Relationships>
</file>

<file path=ppt/charts/_rels/chart816.xml.rels><?xml version="1.0" encoding="UTF-8" standalone="yes"?>
<Relationships xmlns="http://schemas.openxmlformats.org/package/2006/relationships"><Relationship Id="rId3" Type="http://schemas.openxmlformats.org/officeDocument/2006/relationships/package" Target="../embeddings/Microsoft_Excel_Worksheet815.xlsx"/><Relationship Id="rId2" Type="http://schemas.microsoft.com/office/2011/relationships/chartColorStyle" Target="colors9.xml"/><Relationship Id="rId1" Type="http://schemas.microsoft.com/office/2011/relationships/chartStyle" Target="style9.xml"/></Relationships>
</file>

<file path=ppt/charts/_rels/chart817.xml.rels><?xml version="1.0" encoding="UTF-8" standalone="yes"?>
<Relationships xmlns="http://schemas.openxmlformats.org/package/2006/relationships"><Relationship Id="rId3" Type="http://schemas.openxmlformats.org/officeDocument/2006/relationships/package" Target="../embeddings/Microsoft_Excel_Worksheet816.xlsx"/><Relationship Id="rId2" Type="http://schemas.microsoft.com/office/2011/relationships/chartColorStyle" Target="colors10.xml"/><Relationship Id="rId1" Type="http://schemas.microsoft.com/office/2011/relationships/chartStyle" Target="style10.xml"/></Relationships>
</file>

<file path=ppt/charts/_rels/chart818.xml.rels><?xml version="1.0" encoding="UTF-8" standalone="yes"?>
<Relationships xmlns="http://schemas.openxmlformats.org/package/2006/relationships"><Relationship Id="rId3" Type="http://schemas.openxmlformats.org/officeDocument/2006/relationships/package" Target="../embeddings/Microsoft_Excel_Worksheet817.xlsx"/><Relationship Id="rId2" Type="http://schemas.microsoft.com/office/2011/relationships/chartColorStyle" Target="colors11.xml"/><Relationship Id="rId1" Type="http://schemas.microsoft.com/office/2011/relationships/chartStyle" Target="style11.xml"/></Relationships>
</file>

<file path=ppt/charts/_rels/chart819.xml.rels><?xml version="1.0" encoding="UTF-8" standalone="yes"?>
<Relationships xmlns="http://schemas.openxmlformats.org/package/2006/relationships"><Relationship Id="rId3" Type="http://schemas.openxmlformats.org/officeDocument/2006/relationships/package" Target="../embeddings/Microsoft_Excel_Worksheet818.xlsx"/><Relationship Id="rId2" Type="http://schemas.microsoft.com/office/2011/relationships/chartColorStyle" Target="colors12.xml"/><Relationship Id="rId1" Type="http://schemas.microsoft.com/office/2011/relationships/chartStyle" Target="style12.xml"/></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3" Type="http://schemas.openxmlformats.org/officeDocument/2006/relationships/package" Target="../embeddings/Microsoft_Excel_Worksheet819.xlsx"/><Relationship Id="rId2" Type="http://schemas.microsoft.com/office/2011/relationships/chartColorStyle" Target="colors13.xml"/><Relationship Id="rId1" Type="http://schemas.microsoft.com/office/2011/relationships/chartStyle" Target="style13.xml"/></Relationships>
</file>

<file path=ppt/charts/_rels/chart821.xml.rels><?xml version="1.0" encoding="UTF-8" standalone="yes"?>
<Relationships xmlns="http://schemas.openxmlformats.org/package/2006/relationships"><Relationship Id="rId3" Type="http://schemas.openxmlformats.org/officeDocument/2006/relationships/package" Target="../embeddings/Microsoft_Excel_Worksheet820.xlsx"/><Relationship Id="rId2" Type="http://schemas.microsoft.com/office/2011/relationships/chartColorStyle" Target="colors14.xml"/><Relationship Id="rId1" Type="http://schemas.microsoft.com/office/2011/relationships/chartStyle" Target="style14.xml"/></Relationships>
</file>

<file path=ppt/charts/_rels/chart822.xml.rels><?xml version="1.0" encoding="UTF-8" standalone="yes"?>
<Relationships xmlns="http://schemas.openxmlformats.org/package/2006/relationships"><Relationship Id="rId3" Type="http://schemas.openxmlformats.org/officeDocument/2006/relationships/package" Target="../embeddings/Microsoft_Excel_Worksheet821.xlsx"/><Relationship Id="rId2" Type="http://schemas.microsoft.com/office/2011/relationships/chartColorStyle" Target="colors15.xml"/><Relationship Id="rId1" Type="http://schemas.microsoft.com/office/2011/relationships/chartStyle" Target="style15.xml"/></Relationships>
</file>

<file path=ppt/charts/_rels/chart823.xml.rels><?xml version="1.0" encoding="UTF-8" standalone="yes"?>
<Relationships xmlns="http://schemas.openxmlformats.org/package/2006/relationships"><Relationship Id="rId3" Type="http://schemas.openxmlformats.org/officeDocument/2006/relationships/package" Target="../embeddings/Microsoft_Excel_Worksheet822.xlsx"/><Relationship Id="rId2" Type="http://schemas.microsoft.com/office/2011/relationships/chartColorStyle" Target="colors16.xml"/><Relationship Id="rId1" Type="http://schemas.microsoft.com/office/2011/relationships/chartStyle" Target="style16.xml"/></Relationships>
</file>

<file path=ppt/charts/_rels/chart824.xml.rels><?xml version="1.0" encoding="UTF-8" standalone="yes"?>
<Relationships xmlns="http://schemas.openxmlformats.org/package/2006/relationships"><Relationship Id="rId3" Type="http://schemas.openxmlformats.org/officeDocument/2006/relationships/package" Target="../embeddings/Microsoft_Excel_Worksheet823.xlsx"/><Relationship Id="rId2" Type="http://schemas.microsoft.com/office/2011/relationships/chartColorStyle" Target="colors17.xml"/><Relationship Id="rId1" Type="http://schemas.microsoft.com/office/2011/relationships/chartStyle" Target="style17.xml"/></Relationships>
</file>

<file path=ppt/charts/_rels/chart825.xml.rels><?xml version="1.0" encoding="UTF-8" standalone="yes"?>
<Relationships xmlns="http://schemas.openxmlformats.org/package/2006/relationships"><Relationship Id="rId3" Type="http://schemas.openxmlformats.org/officeDocument/2006/relationships/package" Target="../embeddings/Microsoft_Excel_Worksheet824.xlsx"/><Relationship Id="rId2" Type="http://schemas.microsoft.com/office/2011/relationships/chartColorStyle" Target="colors18.xml"/><Relationship Id="rId1" Type="http://schemas.microsoft.com/office/2011/relationships/chartStyle" Target="style18.xml"/></Relationships>
</file>

<file path=ppt/charts/_rels/chart826.xml.rels><?xml version="1.0" encoding="UTF-8" standalone="yes"?>
<Relationships xmlns="http://schemas.openxmlformats.org/package/2006/relationships"><Relationship Id="rId3" Type="http://schemas.openxmlformats.org/officeDocument/2006/relationships/package" Target="../embeddings/Microsoft_Excel_Worksheet825.xlsx"/><Relationship Id="rId2" Type="http://schemas.microsoft.com/office/2011/relationships/chartColorStyle" Target="colors19.xml"/><Relationship Id="rId1" Type="http://schemas.microsoft.com/office/2011/relationships/chartStyle" Target="style19.xml"/></Relationships>
</file>

<file path=ppt/charts/_rels/chart827.xml.rels><?xml version="1.0" encoding="UTF-8" standalone="yes"?>
<Relationships xmlns="http://schemas.openxmlformats.org/package/2006/relationships"><Relationship Id="rId3" Type="http://schemas.openxmlformats.org/officeDocument/2006/relationships/package" Target="../embeddings/Microsoft_Excel_Worksheet826.xlsx"/><Relationship Id="rId2" Type="http://schemas.microsoft.com/office/2011/relationships/chartColorStyle" Target="colors20.xml"/><Relationship Id="rId1" Type="http://schemas.microsoft.com/office/2011/relationships/chartStyle" Target="style20.xml"/></Relationships>
</file>

<file path=ppt/charts/_rels/chart828.xml.rels><?xml version="1.0" encoding="UTF-8" standalone="yes"?>
<Relationships xmlns="http://schemas.openxmlformats.org/package/2006/relationships"><Relationship Id="rId3" Type="http://schemas.openxmlformats.org/officeDocument/2006/relationships/package" Target="../embeddings/Microsoft_Excel_Worksheet827.xlsx"/><Relationship Id="rId2" Type="http://schemas.microsoft.com/office/2011/relationships/chartColorStyle" Target="colors21.xml"/><Relationship Id="rId1" Type="http://schemas.microsoft.com/office/2011/relationships/chartStyle" Target="style21.xml"/></Relationships>
</file>

<file path=ppt/charts/_rels/chart829.xml.rels><?xml version="1.0" encoding="UTF-8" standalone="yes"?>
<Relationships xmlns="http://schemas.openxmlformats.org/package/2006/relationships"><Relationship Id="rId3" Type="http://schemas.openxmlformats.org/officeDocument/2006/relationships/package" Target="../embeddings/Microsoft_Excel_Worksheet828.xlsx"/><Relationship Id="rId2" Type="http://schemas.microsoft.com/office/2011/relationships/chartColorStyle" Target="colors22.xml"/><Relationship Id="rId1" Type="http://schemas.microsoft.com/office/2011/relationships/chartStyle" Target="style22.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3" Type="http://schemas.openxmlformats.org/officeDocument/2006/relationships/package" Target="../embeddings/Microsoft_Excel_Worksheet829.xlsx"/><Relationship Id="rId2" Type="http://schemas.microsoft.com/office/2011/relationships/chartColorStyle" Target="colors23.xml"/><Relationship Id="rId1" Type="http://schemas.microsoft.com/office/2011/relationships/chartStyle" Target="style23.xml"/></Relationships>
</file>

<file path=ppt/charts/_rels/chart831.xml.rels><?xml version="1.0" encoding="UTF-8" standalone="yes"?>
<Relationships xmlns="http://schemas.openxmlformats.org/package/2006/relationships"><Relationship Id="rId3" Type="http://schemas.openxmlformats.org/officeDocument/2006/relationships/package" Target="../embeddings/Microsoft_Excel_Worksheet830.xlsx"/><Relationship Id="rId2" Type="http://schemas.microsoft.com/office/2011/relationships/chartColorStyle" Target="colors24.xml"/><Relationship Id="rId1" Type="http://schemas.microsoft.com/office/2011/relationships/chartStyle" Target="style24.xml"/></Relationships>
</file>

<file path=ppt/charts/_rels/chart832.xml.rels><?xml version="1.0" encoding="UTF-8" standalone="yes"?>
<Relationships xmlns="http://schemas.openxmlformats.org/package/2006/relationships"><Relationship Id="rId3" Type="http://schemas.openxmlformats.org/officeDocument/2006/relationships/package" Target="../embeddings/Microsoft_Excel_Worksheet831.xlsx"/><Relationship Id="rId2" Type="http://schemas.microsoft.com/office/2011/relationships/chartColorStyle" Target="colors25.xml"/><Relationship Id="rId1" Type="http://schemas.microsoft.com/office/2011/relationships/chartStyle" Target="style25.xml"/></Relationships>
</file>

<file path=ppt/charts/_rels/chart833.xml.rels><?xml version="1.0" encoding="UTF-8" standalone="yes"?>
<Relationships xmlns="http://schemas.openxmlformats.org/package/2006/relationships"><Relationship Id="rId3" Type="http://schemas.openxmlformats.org/officeDocument/2006/relationships/package" Target="../embeddings/Microsoft_Excel_Worksheet832.xlsx"/><Relationship Id="rId2" Type="http://schemas.microsoft.com/office/2011/relationships/chartColorStyle" Target="colors26.xml"/><Relationship Id="rId1" Type="http://schemas.microsoft.com/office/2011/relationships/chartStyle" Target="style26.xml"/></Relationships>
</file>

<file path=ppt/charts/_rels/chart834.xml.rels><?xml version="1.0" encoding="UTF-8" standalone="yes"?>
<Relationships xmlns="http://schemas.openxmlformats.org/package/2006/relationships"><Relationship Id="rId3" Type="http://schemas.openxmlformats.org/officeDocument/2006/relationships/package" Target="../embeddings/Microsoft_Excel_Worksheet833.xlsx"/><Relationship Id="rId2" Type="http://schemas.microsoft.com/office/2011/relationships/chartColorStyle" Target="colors27.xml"/><Relationship Id="rId1" Type="http://schemas.microsoft.com/office/2011/relationships/chartStyle" Target="style27.xml"/></Relationships>
</file>

<file path=ppt/charts/_rels/chart835.xml.rels><?xml version="1.0" encoding="UTF-8" standalone="yes"?>
<Relationships xmlns="http://schemas.openxmlformats.org/package/2006/relationships"><Relationship Id="rId3" Type="http://schemas.openxmlformats.org/officeDocument/2006/relationships/package" Target="../embeddings/Microsoft_Excel_Worksheet834.xlsx"/><Relationship Id="rId2" Type="http://schemas.microsoft.com/office/2011/relationships/chartColorStyle" Target="colors28.xml"/><Relationship Id="rId1" Type="http://schemas.microsoft.com/office/2011/relationships/chartStyle" Target="style28.xml"/></Relationships>
</file>

<file path=ppt/charts/_rels/chart836.xml.rels><?xml version="1.0" encoding="UTF-8" standalone="yes"?>
<Relationships xmlns="http://schemas.openxmlformats.org/package/2006/relationships"><Relationship Id="rId3" Type="http://schemas.openxmlformats.org/officeDocument/2006/relationships/package" Target="../embeddings/Microsoft_Excel_Worksheet835.xlsx"/><Relationship Id="rId2" Type="http://schemas.microsoft.com/office/2011/relationships/chartColorStyle" Target="colors29.xml"/><Relationship Id="rId1" Type="http://schemas.microsoft.com/office/2011/relationships/chartStyle" Target="style29.xml"/></Relationships>
</file>

<file path=ppt/charts/_rels/chart837.xml.rels><?xml version="1.0" encoding="UTF-8" standalone="yes"?>
<Relationships xmlns="http://schemas.openxmlformats.org/package/2006/relationships"><Relationship Id="rId3" Type="http://schemas.openxmlformats.org/officeDocument/2006/relationships/package" Target="../embeddings/Microsoft_Excel_Worksheet836.xlsx"/><Relationship Id="rId2" Type="http://schemas.microsoft.com/office/2011/relationships/chartColorStyle" Target="colors30.xml"/><Relationship Id="rId1" Type="http://schemas.microsoft.com/office/2011/relationships/chartStyle" Target="style30.xml"/></Relationships>
</file>

<file path=ppt/charts/_rels/chart838.xml.rels><?xml version="1.0" encoding="UTF-8" standalone="yes"?>
<Relationships xmlns="http://schemas.openxmlformats.org/package/2006/relationships"><Relationship Id="rId3" Type="http://schemas.openxmlformats.org/officeDocument/2006/relationships/package" Target="../embeddings/Microsoft_Excel_Worksheet837.xlsx"/><Relationship Id="rId2" Type="http://schemas.microsoft.com/office/2011/relationships/chartColorStyle" Target="colors31.xml"/><Relationship Id="rId1" Type="http://schemas.microsoft.com/office/2011/relationships/chartStyle" Target="style31.xml"/></Relationships>
</file>

<file path=ppt/charts/_rels/chart839.xml.rels><?xml version="1.0" encoding="UTF-8" standalone="yes"?>
<Relationships xmlns="http://schemas.openxmlformats.org/package/2006/relationships"><Relationship Id="rId3" Type="http://schemas.openxmlformats.org/officeDocument/2006/relationships/package" Target="../embeddings/Microsoft_Excel_Worksheet838.xlsx"/><Relationship Id="rId2" Type="http://schemas.microsoft.com/office/2011/relationships/chartColorStyle" Target="colors32.xml"/><Relationship Id="rId1" Type="http://schemas.microsoft.com/office/2011/relationships/chartStyle" Target="style32.xml"/></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3" Type="http://schemas.openxmlformats.org/officeDocument/2006/relationships/package" Target="../embeddings/Microsoft_Excel_Worksheet839.xlsx"/><Relationship Id="rId2" Type="http://schemas.microsoft.com/office/2011/relationships/chartColorStyle" Target="colors33.xml"/><Relationship Id="rId1" Type="http://schemas.microsoft.com/office/2011/relationships/chartStyle" Target="style33.xml"/></Relationships>
</file>

<file path=ppt/charts/_rels/chart841.xml.rels><?xml version="1.0" encoding="UTF-8" standalone="yes"?>
<Relationships xmlns="http://schemas.openxmlformats.org/package/2006/relationships"><Relationship Id="rId3" Type="http://schemas.openxmlformats.org/officeDocument/2006/relationships/package" Target="../embeddings/Microsoft_Excel_Worksheet840.xlsx"/><Relationship Id="rId2" Type="http://schemas.microsoft.com/office/2011/relationships/chartColorStyle" Target="colors34.xml"/><Relationship Id="rId1" Type="http://schemas.microsoft.com/office/2011/relationships/chartStyle" Target="style34.xml"/></Relationships>
</file>

<file path=ppt/charts/_rels/chart842.xml.rels><?xml version="1.0" encoding="UTF-8" standalone="yes"?>
<Relationships xmlns="http://schemas.openxmlformats.org/package/2006/relationships"><Relationship Id="rId3" Type="http://schemas.openxmlformats.org/officeDocument/2006/relationships/package" Target="../embeddings/Microsoft_Excel_Worksheet841.xlsx"/><Relationship Id="rId2" Type="http://schemas.microsoft.com/office/2011/relationships/chartColorStyle" Target="colors35.xml"/><Relationship Id="rId1" Type="http://schemas.microsoft.com/office/2011/relationships/chartStyle" Target="style35.xml"/></Relationships>
</file>

<file path=ppt/charts/_rels/chart843.xml.rels><?xml version="1.0" encoding="UTF-8" standalone="yes"?>
<Relationships xmlns="http://schemas.openxmlformats.org/package/2006/relationships"><Relationship Id="rId3" Type="http://schemas.openxmlformats.org/officeDocument/2006/relationships/package" Target="../embeddings/Microsoft_Excel_Worksheet842.xlsx"/><Relationship Id="rId2" Type="http://schemas.microsoft.com/office/2011/relationships/chartColorStyle" Target="colors36.xml"/><Relationship Id="rId1" Type="http://schemas.microsoft.com/office/2011/relationships/chartStyle" Target="style36.xml"/></Relationships>
</file>

<file path=ppt/charts/_rels/chart844.xml.rels><?xml version="1.0" encoding="UTF-8" standalone="yes"?>
<Relationships xmlns="http://schemas.openxmlformats.org/package/2006/relationships"><Relationship Id="rId3" Type="http://schemas.openxmlformats.org/officeDocument/2006/relationships/package" Target="../embeddings/Microsoft_Excel_Worksheet843.xlsx"/><Relationship Id="rId2" Type="http://schemas.microsoft.com/office/2011/relationships/chartColorStyle" Target="colors37.xml"/><Relationship Id="rId1" Type="http://schemas.microsoft.com/office/2011/relationships/chartStyle" Target="style37.xml"/></Relationships>
</file>

<file path=ppt/charts/_rels/chart845.xml.rels><?xml version="1.0" encoding="UTF-8" standalone="yes"?>
<Relationships xmlns="http://schemas.openxmlformats.org/package/2006/relationships"><Relationship Id="rId3" Type="http://schemas.openxmlformats.org/officeDocument/2006/relationships/package" Target="../embeddings/Microsoft_Excel_Worksheet844.xlsx"/><Relationship Id="rId2" Type="http://schemas.microsoft.com/office/2011/relationships/chartColorStyle" Target="colors38.xml"/><Relationship Id="rId1" Type="http://schemas.microsoft.com/office/2011/relationships/chartStyle" Target="style38.xml"/></Relationships>
</file>

<file path=ppt/charts/_rels/chart846.xml.rels><?xml version="1.0" encoding="UTF-8" standalone="yes"?>
<Relationships xmlns="http://schemas.openxmlformats.org/package/2006/relationships"><Relationship Id="rId3" Type="http://schemas.openxmlformats.org/officeDocument/2006/relationships/package" Target="../embeddings/Microsoft_Excel_Worksheet845.xlsx"/><Relationship Id="rId2" Type="http://schemas.microsoft.com/office/2011/relationships/chartColorStyle" Target="colors39.xml"/><Relationship Id="rId1" Type="http://schemas.microsoft.com/office/2011/relationships/chartStyle" Target="style39.xml"/></Relationships>
</file>

<file path=ppt/charts/_rels/chart847.xml.rels><?xml version="1.0" encoding="UTF-8" standalone="yes"?>
<Relationships xmlns="http://schemas.openxmlformats.org/package/2006/relationships"><Relationship Id="rId3" Type="http://schemas.openxmlformats.org/officeDocument/2006/relationships/package" Target="../embeddings/Microsoft_Excel_Worksheet846.xlsx"/><Relationship Id="rId2" Type="http://schemas.microsoft.com/office/2011/relationships/chartColorStyle" Target="colors40.xml"/><Relationship Id="rId1" Type="http://schemas.microsoft.com/office/2011/relationships/chartStyle" Target="style40.xml"/></Relationships>
</file>

<file path=ppt/charts/_rels/chart848.xml.rels><?xml version="1.0" encoding="UTF-8" standalone="yes"?>
<Relationships xmlns="http://schemas.openxmlformats.org/package/2006/relationships"><Relationship Id="rId3" Type="http://schemas.openxmlformats.org/officeDocument/2006/relationships/package" Target="../embeddings/Microsoft_Excel_Worksheet847.xlsx"/><Relationship Id="rId2" Type="http://schemas.microsoft.com/office/2011/relationships/chartColorStyle" Target="colors41.xml"/><Relationship Id="rId1" Type="http://schemas.microsoft.com/office/2011/relationships/chartStyle" Target="style41.xml"/></Relationships>
</file>

<file path=ppt/charts/_rels/chart849.xml.rels><?xml version="1.0" encoding="UTF-8" standalone="yes"?>
<Relationships xmlns="http://schemas.openxmlformats.org/package/2006/relationships"><Relationship Id="rId3" Type="http://schemas.openxmlformats.org/officeDocument/2006/relationships/package" Target="../embeddings/Microsoft_Excel_Worksheet848.xlsx"/><Relationship Id="rId2" Type="http://schemas.microsoft.com/office/2011/relationships/chartColorStyle" Target="colors42.xml"/><Relationship Id="rId1" Type="http://schemas.microsoft.com/office/2011/relationships/chartStyle" Target="style42.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3" Type="http://schemas.openxmlformats.org/officeDocument/2006/relationships/package" Target="../embeddings/Microsoft_Excel_Worksheet849.xlsx"/><Relationship Id="rId2" Type="http://schemas.microsoft.com/office/2011/relationships/chartColorStyle" Target="colors43.xml"/><Relationship Id="rId1" Type="http://schemas.microsoft.com/office/2011/relationships/chartStyle" Target="style43.xml"/></Relationships>
</file>

<file path=ppt/charts/_rels/chart851.xml.rels><?xml version="1.0" encoding="UTF-8" standalone="yes"?>
<Relationships xmlns="http://schemas.openxmlformats.org/package/2006/relationships"><Relationship Id="rId3" Type="http://schemas.openxmlformats.org/officeDocument/2006/relationships/package" Target="../embeddings/Microsoft_Excel_Worksheet850.xlsx"/><Relationship Id="rId2" Type="http://schemas.microsoft.com/office/2011/relationships/chartColorStyle" Target="colors44.xml"/><Relationship Id="rId1" Type="http://schemas.microsoft.com/office/2011/relationships/chartStyle" Target="style44.xml"/></Relationships>
</file>

<file path=ppt/charts/_rels/chart852.xml.rels><?xml version="1.0" encoding="UTF-8" standalone="yes"?>
<Relationships xmlns="http://schemas.openxmlformats.org/package/2006/relationships"><Relationship Id="rId3" Type="http://schemas.openxmlformats.org/officeDocument/2006/relationships/package" Target="../embeddings/Microsoft_Excel_Worksheet851.xlsx"/><Relationship Id="rId2" Type="http://schemas.microsoft.com/office/2011/relationships/chartColorStyle" Target="colors45.xml"/><Relationship Id="rId1" Type="http://schemas.microsoft.com/office/2011/relationships/chartStyle" Target="style45.xml"/></Relationships>
</file>

<file path=ppt/charts/_rels/chart853.xml.rels><?xml version="1.0" encoding="UTF-8" standalone="yes"?>
<Relationships xmlns="http://schemas.openxmlformats.org/package/2006/relationships"><Relationship Id="rId3" Type="http://schemas.openxmlformats.org/officeDocument/2006/relationships/package" Target="../embeddings/Microsoft_Excel_Worksheet852.xlsx"/><Relationship Id="rId2" Type="http://schemas.microsoft.com/office/2011/relationships/chartColorStyle" Target="colors46.xml"/><Relationship Id="rId1" Type="http://schemas.microsoft.com/office/2011/relationships/chartStyle" Target="style46.xml"/></Relationships>
</file>

<file path=ppt/charts/_rels/chart854.xml.rels><?xml version="1.0" encoding="UTF-8" standalone="yes"?>
<Relationships xmlns="http://schemas.openxmlformats.org/package/2006/relationships"><Relationship Id="rId3" Type="http://schemas.openxmlformats.org/officeDocument/2006/relationships/package" Target="../embeddings/Microsoft_Excel_Worksheet853.xlsx"/><Relationship Id="rId2" Type="http://schemas.microsoft.com/office/2011/relationships/chartColorStyle" Target="colors47.xml"/><Relationship Id="rId1" Type="http://schemas.microsoft.com/office/2011/relationships/chartStyle" Target="style47.xml"/></Relationships>
</file>

<file path=ppt/charts/_rels/chart855.xml.rels><?xml version="1.0" encoding="UTF-8" standalone="yes"?>
<Relationships xmlns="http://schemas.openxmlformats.org/package/2006/relationships"><Relationship Id="rId3" Type="http://schemas.openxmlformats.org/officeDocument/2006/relationships/package" Target="../embeddings/Microsoft_Excel_Worksheet854.xlsx"/><Relationship Id="rId2" Type="http://schemas.microsoft.com/office/2011/relationships/chartColorStyle" Target="colors48.xml"/><Relationship Id="rId1" Type="http://schemas.microsoft.com/office/2011/relationships/chartStyle" Target="style48.xml"/></Relationships>
</file>

<file path=ppt/charts/_rels/chart856.xml.rels><?xml version="1.0" encoding="UTF-8" standalone="yes"?>
<Relationships xmlns="http://schemas.openxmlformats.org/package/2006/relationships"><Relationship Id="rId3" Type="http://schemas.openxmlformats.org/officeDocument/2006/relationships/package" Target="../embeddings/Microsoft_Excel_Worksheet855.xlsx"/><Relationship Id="rId2" Type="http://schemas.microsoft.com/office/2011/relationships/chartColorStyle" Target="colors49.xml"/><Relationship Id="rId1" Type="http://schemas.microsoft.com/office/2011/relationships/chartStyle" Target="style49.xml"/></Relationships>
</file>

<file path=ppt/charts/_rels/chart857.xml.rels><?xml version="1.0" encoding="UTF-8" standalone="yes"?>
<Relationships xmlns="http://schemas.openxmlformats.org/package/2006/relationships"><Relationship Id="rId3" Type="http://schemas.openxmlformats.org/officeDocument/2006/relationships/package" Target="../embeddings/Microsoft_Excel_Worksheet856.xlsx"/><Relationship Id="rId2" Type="http://schemas.microsoft.com/office/2011/relationships/chartColorStyle" Target="colors50.xml"/><Relationship Id="rId1" Type="http://schemas.microsoft.com/office/2011/relationships/chartStyle" Target="style50.xml"/></Relationships>
</file>

<file path=ppt/charts/_rels/chart858.xml.rels><?xml version="1.0" encoding="UTF-8" standalone="yes"?>
<Relationships xmlns="http://schemas.openxmlformats.org/package/2006/relationships"><Relationship Id="rId3" Type="http://schemas.openxmlformats.org/officeDocument/2006/relationships/package" Target="../embeddings/Microsoft_Excel_Worksheet857.xlsx"/><Relationship Id="rId2" Type="http://schemas.microsoft.com/office/2011/relationships/chartColorStyle" Target="colors51.xml"/><Relationship Id="rId1" Type="http://schemas.microsoft.com/office/2011/relationships/chartStyle" Target="style51.xml"/></Relationships>
</file>

<file path=ppt/charts/_rels/chart859.xml.rels><?xml version="1.0" encoding="UTF-8" standalone="yes"?>
<Relationships xmlns="http://schemas.openxmlformats.org/package/2006/relationships"><Relationship Id="rId3" Type="http://schemas.openxmlformats.org/officeDocument/2006/relationships/package" Target="../embeddings/Microsoft_Excel_Worksheet858.xlsx"/><Relationship Id="rId2" Type="http://schemas.microsoft.com/office/2011/relationships/chartColorStyle" Target="colors52.xml"/><Relationship Id="rId1" Type="http://schemas.microsoft.com/office/2011/relationships/chartStyle" Target="style52.xml"/></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3" Type="http://schemas.openxmlformats.org/officeDocument/2006/relationships/package" Target="../embeddings/Microsoft_Excel_Worksheet859.xlsx"/><Relationship Id="rId2" Type="http://schemas.microsoft.com/office/2011/relationships/chartColorStyle" Target="colors53.xml"/><Relationship Id="rId1" Type="http://schemas.microsoft.com/office/2011/relationships/chartStyle" Target="style53.xml"/></Relationships>
</file>

<file path=ppt/charts/_rels/chart861.xml.rels><?xml version="1.0" encoding="UTF-8" standalone="yes"?>
<Relationships xmlns="http://schemas.openxmlformats.org/package/2006/relationships"><Relationship Id="rId3" Type="http://schemas.openxmlformats.org/officeDocument/2006/relationships/package" Target="../embeddings/Microsoft_Excel_Worksheet860.xlsx"/><Relationship Id="rId2" Type="http://schemas.microsoft.com/office/2011/relationships/chartColorStyle" Target="colors54.xml"/><Relationship Id="rId1" Type="http://schemas.microsoft.com/office/2011/relationships/chartStyle" Target="style54.xml"/></Relationships>
</file>

<file path=ppt/charts/_rels/chart862.xml.rels><?xml version="1.0" encoding="UTF-8" standalone="yes"?>
<Relationships xmlns="http://schemas.openxmlformats.org/package/2006/relationships"><Relationship Id="rId3" Type="http://schemas.openxmlformats.org/officeDocument/2006/relationships/package" Target="../embeddings/Microsoft_Excel_Worksheet861.xlsx"/><Relationship Id="rId2" Type="http://schemas.microsoft.com/office/2011/relationships/chartColorStyle" Target="colors55.xml"/><Relationship Id="rId1" Type="http://schemas.microsoft.com/office/2011/relationships/chartStyle" Target="style55.xml"/></Relationships>
</file>

<file path=ppt/charts/_rels/chart863.xml.rels><?xml version="1.0" encoding="UTF-8" standalone="yes"?>
<Relationships xmlns="http://schemas.openxmlformats.org/package/2006/relationships"><Relationship Id="rId3" Type="http://schemas.openxmlformats.org/officeDocument/2006/relationships/package" Target="../embeddings/Microsoft_Excel_Worksheet862.xlsx"/><Relationship Id="rId2" Type="http://schemas.microsoft.com/office/2011/relationships/chartColorStyle" Target="colors56.xml"/><Relationship Id="rId1" Type="http://schemas.microsoft.com/office/2011/relationships/chartStyle" Target="style56.xml"/></Relationships>
</file>

<file path=ppt/charts/_rels/chart864.xml.rels><?xml version="1.0" encoding="UTF-8" standalone="yes"?>
<Relationships xmlns="http://schemas.openxmlformats.org/package/2006/relationships"><Relationship Id="rId3" Type="http://schemas.openxmlformats.org/officeDocument/2006/relationships/package" Target="../embeddings/Microsoft_Excel_Worksheet863.xlsx"/><Relationship Id="rId2" Type="http://schemas.microsoft.com/office/2011/relationships/chartColorStyle" Target="colors57.xml"/><Relationship Id="rId1" Type="http://schemas.microsoft.com/office/2011/relationships/chartStyle" Target="style57.xml"/></Relationships>
</file>

<file path=ppt/charts/_rels/chart865.xml.rels><?xml version="1.0" encoding="UTF-8" standalone="yes"?>
<Relationships xmlns="http://schemas.openxmlformats.org/package/2006/relationships"><Relationship Id="rId3" Type="http://schemas.openxmlformats.org/officeDocument/2006/relationships/package" Target="../embeddings/Microsoft_Excel_Worksheet864.xlsx"/><Relationship Id="rId2" Type="http://schemas.microsoft.com/office/2011/relationships/chartColorStyle" Target="colors58.xml"/><Relationship Id="rId1" Type="http://schemas.microsoft.com/office/2011/relationships/chartStyle" Target="style58.xml"/></Relationships>
</file>

<file path=ppt/charts/_rels/chart866.xml.rels><?xml version="1.0" encoding="UTF-8" standalone="yes"?>
<Relationships xmlns="http://schemas.openxmlformats.org/package/2006/relationships"><Relationship Id="rId3" Type="http://schemas.openxmlformats.org/officeDocument/2006/relationships/package" Target="../embeddings/Microsoft_Excel_Worksheet865.xlsx"/><Relationship Id="rId2" Type="http://schemas.microsoft.com/office/2011/relationships/chartColorStyle" Target="colors59.xml"/><Relationship Id="rId1" Type="http://schemas.microsoft.com/office/2011/relationships/chartStyle" Target="style59.xml"/></Relationships>
</file>

<file path=ppt/charts/_rels/chart867.xml.rels><?xml version="1.0" encoding="UTF-8" standalone="yes"?>
<Relationships xmlns="http://schemas.openxmlformats.org/package/2006/relationships"><Relationship Id="rId3" Type="http://schemas.openxmlformats.org/officeDocument/2006/relationships/package" Target="../embeddings/Microsoft_Excel_Worksheet866.xlsx"/><Relationship Id="rId2" Type="http://schemas.microsoft.com/office/2011/relationships/chartColorStyle" Target="colors60.xml"/><Relationship Id="rId1" Type="http://schemas.microsoft.com/office/2011/relationships/chartStyle" Target="style60.xml"/></Relationships>
</file>

<file path=ppt/charts/_rels/chart868.xml.rels><?xml version="1.0" encoding="UTF-8" standalone="yes"?>
<Relationships xmlns="http://schemas.openxmlformats.org/package/2006/relationships"><Relationship Id="rId3" Type="http://schemas.openxmlformats.org/officeDocument/2006/relationships/package" Target="../embeddings/Microsoft_Excel_Worksheet867.xlsx"/><Relationship Id="rId2" Type="http://schemas.microsoft.com/office/2011/relationships/chartColorStyle" Target="colors61.xml"/><Relationship Id="rId1" Type="http://schemas.microsoft.com/office/2011/relationships/chartStyle" Target="style61.xml"/></Relationships>
</file>

<file path=ppt/charts/_rels/chart869.xml.rels><?xml version="1.0" encoding="UTF-8" standalone="yes"?>
<Relationships xmlns="http://schemas.openxmlformats.org/package/2006/relationships"><Relationship Id="rId3" Type="http://schemas.openxmlformats.org/officeDocument/2006/relationships/package" Target="../embeddings/Microsoft_Excel_Worksheet868.xlsx"/><Relationship Id="rId2" Type="http://schemas.microsoft.com/office/2011/relationships/chartColorStyle" Target="colors62.xml"/><Relationship Id="rId1" Type="http://schemas.microsoft.com/office/2011/relationships/chartStyle" Target="style62.xml"/></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3" Type="http://schemas.openxmlformats.org/officeDocument/2006/relationships/package" Target="../embeddings/Microsoft_Excel_Worksheet869.xlsx"/><Relationship Id="rId2" Type="http://schemas.microsoft.com/office/2011/relationships/chartColorStyle" Target="colors63.xml"/><Relationship Id="rId1" Type="http://schemas.microsoft.com/office/2011/relationships/chartStyle" Target="style63.xml"/></Relationships>
</file>

<file path=ppt/charts/_rels/chart871.xml.rels><?xml version="1.0" encoding="UTF-8" standalone="yes"?>
<Relationships xmlns="http://schemas.openxmlformats.org/package/2006/relationships"><Relationship Id="rId3" Type="http://schemas.openxmlformats.org/officeDocument/2006/relationships/package" Target="../embeddings/Microsoft_Excel_Worksheet870.xlsx"/><Relationship Id="rId2" Type="http://schemas.microsoft.com/office/2011/relationships/chartColorStyle" Target="colors64.xml"/><Relationship Id="rId1" Type="http://schemas.microsoft.com/office/2011/relationships/chartStyle" Target="style64.xml"/></Relationships>
</file>

<file path=ppt/charts/_rels/chart872.xml.rels><?xml version="1.0" encoding="UTF-8" standalone="yes"?>
<Relationships xmlns="http://schemas.openxmlformats.org/package/2006/relationships"><Relationship Id="rId3" Type="http://schemas.openxmlformats.org/officeDocument/2006/relationships/package" Target="../embeddings/Microsoft_Excel_Worksheet871.xlsx"/><Relationship Id="rId2" Type="http://schemas.microsoft.com/office/2011/relationships/chartColorStyle" Target="colors65.xml"/><Relationship Id="rId1" Type="http://schemas.microsoft.com/office/2011/relationships/chartStyle" Target="style65.xml"/></Relationships>
</file>

<file path=ppt/charts/_rels/chart873.xml.rels><?xml version="1.0" encoding="UTF-8" standalone="yes"?>
<Relationships xmlns="http://schemas.openxmlformats.org/package/2006/relationships"><Relationship Id="rId3" Type="http://schemas.openxmlformats.org/officeDocument/2006/relationships/package" Target="../embeddings/Microsoft_Excel_Worksheet872.xlsx"/><Relationship Id="rId2" Type="http://schemas.microsoft.com/office/2011/relationships/chartColorStyle" Target="colors66.xml"/><Relationship Id="rId1" Type="http://schemas.microsoft.com/office/2011/relationships/chartStyle" Target="style66.xml"/></Relationships>
</file>

<file path=ppt/charts/_rels/chart874.xml.rels><?xml version="1.0" encoding="UTF-8" standalone="yes"?>
<Relationships xmlns="http://schemas.openxmlformats.org/package/2006/relationships"><Relationship Id="rId3" Type="http://schemas.openxmlformats.org/officeDocument/2006/relationships/package" Target="../embeddings/Microsoft_Excel_Worksheet873.xlsx"/><Relationship Id="rId2" Type="http://schemas.microsoft.com/office/2011/relationships/chartColorStyle" Target="colors67.xml"/><Relationship Id="rId1" Type="http://schemas.microsoft.com/office/2011/relationships/chartStyle" Target="style67.xml"/></Relationships>
</file>

<file path=ppt/charts/_rels/chart875.xml.rels><?xml version="1.0" encoding="UTF-8" standalone="yes"?>
<Relationships xmlns="http://schemas.openxmlformats.org/package/2006/relationships"><Relationship Id="rId3" Type="http://schemas.openxmlformats.org/officeDocument/2006/relationships/package" Target="../embeddings/Microsoft_Excel_Worksheet874.xlsx"/><Relationship Id="rId2" Type="http://schemas.microsoft.com/office/2011/relationships/chartColorStyle" Target="colors68.xml"/><Relationship Id="rId1" Type="http://schemas.microsoft.com/office/2011/relationships/chartStyle" Target="style68.xml"/></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54FDB7-952D-49F2-BF97-B78FE1778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6029D6-BCC8-4453-AD14-1A655B67B1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6C098E-A0CF-4955-AB4A-033EAE087D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3DFD87-367C-4F01-9B69-74EE4D8EE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32E43E-F14E-43F6-AB86-03824D60D5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A0C157-4897-48C3-818C-E041CBE7DA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91E923-A9FE-4369-9B5A-3BED8B5E57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93474B-2CC4-4271-8049-C47A7B15F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180A60-B6F2-4434-A03B-1131503447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9FC58F-64B9-488A-867E-45F7511648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D39784-2785-4C0A-A412-A1F28A747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3C680E-28EA-4C34-925B-25AF19B9B9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C6088C-39FE-480F-A0AD-F55C93C2A4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369252-AD38-4A5B-BAD8-25299F5B94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DEDD76-B14F-439A-95CC-F5AE5166D0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22C28E-D3A9-4C3C-A3E3-C1E1591382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3CB7535-14DF-4791-9C80-372A4F933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FC4BA7F-C924-491A-80EF-757D57191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14D9139-EAB9-451D-A550-0C6D358F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EE1224D-75EE-45F6-A9C7-7ADD3CA70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8AE863A-FBA8-48AE-AF4C-674F56138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E5F134D-EAC0-45A2-8764-5E5317F774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1A7E3D9-E2BA-4D06-98EE-4975B9933C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2A444EB-C99D-439A-8229-7299D5EC4D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C3C3DF7-FDF9-4874-A96C-A5EB48F2CF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8985EB5-49E4-403B-8D6B-0E57CC315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71C84DA-50EA-488A-98CC-7D579FF801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8C3D6CD-0EF7-4ACD-905F-6C0008C8C3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D710DA9-8DD4-425D-87DE-0D13F38084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4BBC8AD-8837-4525-B7A0-E5AEDE40E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ED23B50-FD55-4F35-B387-D3387B2B84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04F304FE-2E14-41D6-AB81-C3078AFC2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216220E-2A74-4E1A-9B16-83DDD98130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D549AED-DF97-4EC4-88AE-6EC56D7A27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07D4699-A680-494C-AF68-84648C08AC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4DBE9FA-A288-4A30-B7E6-43B33AC78A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404BEC21-BB15-4186-82C9-9581F4B3D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AD3EFC62-273C-4D44-AF59-7CF8C8E86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144D3BC-9F71-4C6A-ACC9-613EE3B1F2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3BF8EC9A-433E-4F16-9CD5-AF96CEC452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E7A8C7-C03E-46CE-AE91-C68E3FEB0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409ACD-C218-4458-8FCE-71BC259B2F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62B3F2-6032-491D-86EA-E8B420F320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2BBA4C-6E16-488A-8321-CD31188198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7DDF2D-6FA5-4B2E-9B1A-CCEC53EBB1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2FB125-4F9F-4436-B3C3-B60C0E9F1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B83D97-5138-4F66-9029-386A06037C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0F1706-A28B-4A5F-86D9-C3BC132CA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CD62A46-2288-41FD-9B76-FA342BFDFA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51C9288-127A-4512-8634-91129B6CF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5E956BF-F80A-429A-9D85-D95FC05BCA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0ABB846-F420-40DD-98E3-1691A62548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63D66D5-7777-46F4-9D55-EC43052CCA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C692F6C-867E-45FD-93DB-11DEAE38A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71195CE-9D27-4008-9A76-72936916D7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A9B0E14-86EA-437A-8A7A-F9EE40AC90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2DADF5-F69C-436B-B792-6975BD9384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23A29B-8853-4BEF-8C5A-7753ECAB28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A0EEEE-FA87-4165-A57B-D2CC6B0412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E53DFB-8195-4D16-8089-ED775C28A4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BBF747-A54D-46E7-A685-2CF38706DC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625F3D-576E-4C3A-A5C3-C53286FC9C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D410FB-C4C6-41FE-9BD0-DA6C250B9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147566-AFA4-4B78-91D5-26393B8D8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5D0100D-1402-49E9-96FA-2A970CF3E9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F89BF88-EF7E-407A-B552-F38F334D9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A140259-F9CB-40B5-AB5F-8C74D059E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EB0A930-FD51-411F-841B-2E6245BE53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9199481-9606-455B-A5FB-147333408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54D02A8-9CB3-440A-998D-0514FB94F0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4BBDE57-6EB5-482D-911B-418EAFACCE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FDC7731-B909-45DD-A6DB-4E02557B32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9970050-BAA4-410C-A605-2A3F2A669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2A09AF4-300B-4F8A-AC32-AC80EC44AA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7CB475A-3499-4BCF-9161-EABC5F3C3A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BDF0A4D-E7A1-449F-8487-48432185EF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49D6DFD-EF2B-466E-B4EE-A97184E47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EC6489A-5EAA-4A15-8896-A74347BA8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FE7C13F-C166-4C62-8E4D-3E01337CB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CC128F90-E0BE-493B-A4FB-6254339558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5EB245E-ABB5-458F-B53F-85346FA820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CB18A61-021A-4AE6-B492-09D9B1ED7A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A4A71A3-C573-4332-AD1D-A0B1C5892B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1397D7AA-8E7B-4326-B2D1-A4F5C24C1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0AF5EB68-1ADD-4A25-ABD2-7B48149063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4B6C73A5-CE79-4043-A6B9-3A780FE33E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630B13C4-08B2-408C-B23B-719ED4B62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02792C1B-B086-4FBC-BEBD-59C17512C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8590C5-D004-4CB5-8C3D-10859CF2F3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D86199-0A2A-4D61-9A7A-B4D3470E2E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1B806C-4C0A-4490-969E-C247D42EC6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FB3B5D-F2A6-4B77-98EE-B67C8C130E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64ED66-3948-4AB1-B399-56E712FA48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688544-69D0-4AD5-81A8-ABAE4FBEED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0D6743-7181-4D79-BB65-247EAD6974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08ADEE-E83C-43FD-A3C6-C2C98A584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5F4BAE-C402-49B4-A013-A8A7E4BA57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301489-D0AB-4CF7-9CC2-B473401DD8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2CA9A2-44C7-49BE-9A39-42A292E385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5338D3-72FD-4502-98AF-685ED86CDE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7118D2-E52C-40D6-AD02-BBAB7BEB0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6701E5-438A-4C7D-B626-E3C6676E97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819B4D-AB27-4A6C-9E86-BB40D59B23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809F94-118C-41FF-A545-14B7CB72A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9AA3BE-ABF1-4D59-873E-2F6245EC04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080EB8E-7A2F-4418-A963-5CB10B70B2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3961D65-9530-478E-A8FC-F08E71F928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B28BBE0-68CE-4F36-BF90-EFA7AEDF0F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4412CE6-769B-4897-BF30-D101206E93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15B7196-D275-4B3F-BCBD-E9A1BC86B5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555BC03-F8C7-4DCD-95D7-740ADB26D7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A5C59B6-79C2-4E74-ABB5-A19545448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01D8F02-300A-4C7B-9421-23DB20EFD6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C0A8EC2-6FC0-4447-89B3-AAC2C7404D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C8DD565-E865-481A-9F20-ABF9D3A51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914E119-86AA-46EF-AEBD-0ACE91FCE6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C749B72-A7D9-49F9-804F-52241757E8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4B1ED4F7-ABBC-4C01-B16F-59AA24A68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D88AFB20-4C43-453A-9494-755669E78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F61EBC41-DCE1-4122-8A55-4E72D2B5B4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3117031-ABDB-423B-9D66-D310D56BFE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C1070EA-6BD4-4C7C-84C2-87ABFA2267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68001CE-4764-4C88-BC29-939C34B686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26CB0821-1F70-48D4-9719-6BDA29FCC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0C837121-25AD-4450-8E19-9514126C30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F1F93A9C-6323-475D-80D2-825F0AAF5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0393B281-91F2-4E71-A847-A34EB85880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3F15D9C0-7912-4656-9AE5-18A09E964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DF78AC-B766-4049-B77F-5EA381B475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D81541-F512-40EC-9904-88D68CA47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9060D2-1A84-4BAE-8F5D-3ECBDC043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A178B3-878B-4A49-8677-775313F0F2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E5C14A-5582-4C35-95BE-86693025C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1337CF-45C3-4351-9790-E4331576F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B7558C-20C9-4366-AAF2-7708A2129D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7DED88-EBB7-4EFB-B314-0A84062C6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6D6AB29-A473-42E5-999A-9C3A2EBDFE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D9B07F1-718E-4623-BFDA-3D7789547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62E7F29-5C00-4F30-B3F4-F90A7844AF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E32B2E8-0FBE-474E-81F0-BA174DFE7F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214BAC2-EF6B-44BB-9DEC-A106CA526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462EA9F-F97C-41C3-AF1A-C60CC211F7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B11976D-878D-42A0-9B1A-48AA215F22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CED8CDB-8904-48DE-95DB-844C4F79F5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8E2F8FE-E2BC-42A1-901B-33184B9FA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E53DCE6-2094-4596-9B3C-910A685EE3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FE8CED6-24F5-44FC-B760-D2293B05BD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D04E1F0-CA7C-480F-9A9B-797D1C717D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5CC1D3B-BE50-4C5F-8C26-081BB9A40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89E6275B-327A-4010-9DFD-E2A9DFCB35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A56D3D1-89F1-44E7-B656-A4449D07F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CF965EA-1FD7-4206-8247-5853783E1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8E3F2D-C286-4870-9E97-97FCCD866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5B7835-1C84-4741-8CF7-05BB19F09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6E4723-6FE5-41B7-973B-6B496C7F2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CA159F-CC57-4E7C-BCEE-86D33B470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AF411F-0479-44C1-8BAA-8C89011F7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69FC38-836C-43CE-9865-14B159CCE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C73717-A11D-47C4-A313-0A42F9D1D6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5E13D8-E00B-45A1-A7E4-DB255276DA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4EFF43F-5A07-4313-80CE-DFC861D57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1424BF3-E2D8-4944-9C2D-34912416DD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CD3F139-150E-4E51-88AA-DD20B65D7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CD0E96E-204B-4700-A850-D427C62D28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E980852-9F7E-4E36-8329-1B65FD916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E5CBB4F-68B4-4690-B443-F6314CCE2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8535AE4-D7BF-4FB3-9BFF-AA0EC91E9B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30A0F82-0AEF-4438-9E18-2A48B21F8F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9C079C0-B05A-4BD4-8EE7-E9C281F389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DA61740-531A-4A76-85AE-7CC41F540E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5D0E077-0034-4BEB-BAEC-27564F5EF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41E2CAA-2B29-4ECC-8211-65CD3862F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C136E4C-53CA-4BDD-9E31-1740BCA89C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9863958-0678-47BE-95C5-17C2C84C7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B155FC0-12D8-4BC2-A3A8-5C215D550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235AE6C-E46B-45B9-8E65-0C02CA38BF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7FAF2C8-4AEC-4DC9-8122-ED69CDA738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33AFE9A-B4DA-4337-AB8A-DA83D92977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EC67B32-1B85-42AB-AD90-A2AB50129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EA0572A-EF86-4A1A-AB9B-F7F41C30FF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B20AFCA6-3133-4E49-8346-74345D45A9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37E385F9-0811-41CC-881F-19AF2D380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3C57B268-B80A-4032-B5EE-EF9246F81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2DFBB967-E19B-43CF-9C27-371EB61085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6AF887-7FE2-46F8-820C-CAFB567E48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BFFC53-DF15-4D14-8599-7922820D3E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A8847D-C46B-4264-895B-E4A4833FA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AAADEC-1EBF-4E43-9C90-928DE035F6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DBEF71-11EC-465E-9E48-0913296630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16BF3C-E375-4793-BE7F-DB263112B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64A30D-6849-4D71-A2E1-0338A7A4F4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087147-F7A2-47A8-B5FC-31B1925746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FB380E-A0AF-45C3-9E13-058B183A4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C14FCF-44DF-4DE8-86CF-E4DA88CDD2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1AECEC-3CB8-4074-943A-8197B7B93F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47A5A0-A435-464D-8EE2-9F1EBAED8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70E3A7-6FFD-491A-A2F5-A821B19C77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AB30A6-3430-49C4-9616-AA23048D8E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1EBD16-192A-497B-85B1-79240664A6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4773AA-6B8F-442C-8563-77184161EE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327C5D1-C730-41C3-8C5A-AFF9376AF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7C64A47-F1BA-402F-A680-6D953C6DB6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2D59168-2617-4F68-879D-8DC4AB96C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BA68C75-E264-4F14-8552-B4AC9FEC2C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1BE752D-9D72-4754-8CCA-3F283AEC9A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DCEA208-3357-47B6-BAAE-F5BF90D151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2E8E378-1F46-43D9-88D5-D044C2F3C3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551235B-DE92-4ADC-8309-6B58D51B9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51CF1CF-0CA2-4D75-BBA9-AA9A09A727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49E6B4C-6A09-43C0-9837-A4B8E31D4B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6042C60-FACE-4BE1-A584-3A341FA78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3BF1CC7-F5DA-4F30-AA80-26A6ED755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F78B87B-E792-48F2-B169-C61C8B48BF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E892703-8999-4B3C-9993-522C35AB85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857FC27-451B-434A-992E-D061BC51D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FD698A4C-7C05-400A-9522-E2D605CE4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1ED7A7B4-2248-44CF-9186-09973EB7FC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D095A0D-E60B-44F3-A0E8-A571A0B453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B8EA8565-477A-4109-AD75-8BC54DB6A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0212CC7B-D5EB-41DC-8191-5CCDAD9691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2247B5F9-D20A-43F4-AFD8-21BCE837C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35EAB27A-3A4E-45DD-A398-4D805FABD4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229674E-929A-45E2-A76C-F5C9B84A26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100C3E56-A420-424D-B50A-7EF1A0DD25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A58C5C-A799-425A-B1C4-BC8B1435D3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3AE7B0-C62A-4C84-BD26-7E28AA198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295745-55FB-49B5-82EB-9EE430769B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C6776F-B367-4453-9F84-FED57A0F69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FBCF68-154A-4FBC-97B2-81769ACF59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289987-7CED-4BDA-BA0E-3CEB7A2A8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476921-CB9C-46BA-A2B0-9B851D8B8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01028C-3A7D-4DEF-BF52-8D016F7ABF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3B5C891-0D68-4A5E-BE05-E1C29A68D1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5927E05-A947-4765-BE23-DCC84E04B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38686BA-A9AD-487E-B2C5-CECB4A0B3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2CAAFA4-ADA5-4827-978E-E2777AA8A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A9C1B99-A93E-4CF0-9FF1-41EEB51E28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725000D-DA5F-4BDC-8844-3228D7B80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E90208A-48E7-4221-A457-572B2D702B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713092F-1345-4C1C-8E23-AA92C8ECF7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08A37DB-3119-498F-8E28-7D0735DC32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919906A-0CD0-47F8-84B0-A11F7EADD3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653724E-7E6C-4E27-B999-61B1D078E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E4AF076-5C78-4B57-AC46-3F52117225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9DCA26F-75DF-4F60-B91B-0A6C79590B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AA45452-1093-4DBA-921C-3F25F7B987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B6F6653-64E7-42E9-840F-1944564F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6178ED1-E4B8-4E39-A561-0BA6F622A4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B1F6A2-B4EC-49F5-B32A-8010F49C72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A63A70-5632-4109-A635-A6FFF68B4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7B4FB8-A9C4-4982-B51D-1138FE411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296030-3E8F-41D0-ACAD-CE75D9384F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13413F-5A24-4E5E-B3E6-C209FA13D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D5AEC9-9143-4F98-ADE1-D974F15B81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C459C9-B4C1-4C6D-AEF7-CE543F01C4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EDDF2D-91EF-4B02-9490-2D7FF36D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60FB0F3-BC41-49FC-96C5-06E7356DA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26A48B4-1DE0-44A8-BD12-1B557C4C04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47563F7-F7FF-40B7-9CE1-1BDAF1661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C72ED46-9D92-416E-A888-44299ED47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D840EFA-6B7B-4899-8454-DAE6D957C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4619104-C81D-4F93-9269-238FE55BB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73D8ECB-99C2-4276-A029-7A54181AC2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AF12C72-50F6-4B5D-86A4-EB11114C8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5BCDC7C-1724-44AD-B7A3-88829FD763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192E403-97BD-44E0-AE58-6DFEF9E9E3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1C21FA9-8E56-4593-84B6-9B962AE321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FCC2E56-0C7F-4684-8861-9731769E7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C4E28F0-ECA3-4CB0-8941-45411DFE6F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E4B4869-D80C-48A7-B9BD-31E6DE4EE8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AB889E6-9636-45F0-9E40-47EAC3F41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48297922-4D01-41AA-8E5B-B4706958A1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EEF54A-00CC-4060-82E2-A21B35F04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D9F7D8-8C95-49D7-B14C-B2578A7516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008381-A94B-4944-A82E-5F47D4D74F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C09F1C-DF37-4415-8737-08BAAE166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EBD184-0465-4B7E-9FF8-A74D8089E4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20B022-5EC6-4AF0-BFEF-2296B75D5D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77D773-244E-4ABF-B7D7-3B3F6254BB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2A5304-1C97-4E13-8C90-B78FA0E8E4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DBA6919-2A40-40BE-B5DF-072A3A987A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E61E887-D926-455F-BA8E-11E710E6F6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A8C39EF-AEE7-436E-9F57-4267414BB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750741C-34B2-4164-BC2D-2E2DE97BF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CF13F344-5ACA-4837-B672-D5F7235F7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FADCFC4A-2ACC-4A3B-9573-415E51A144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62D40002-B881-4224-9A4D-8D06A39F70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449B54A1-18BD-47D0-8E77-92DF99BC1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482D07-21D1-4A3D-BF5D-ABE2C97F04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872685-C850-4603-945D-0989090F03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85EE4B-6FE1-431A-8824-7E9A56FAE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A8AEDD-C11C-4DBA-B6A5-CE4B935F26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5E0642-D21D-44D2-A700-8888279695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C03A70-2C8B-4CE4-B3AD-EEB8D0F582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EE23EE-9311-4A94-B980-8AD73A9DA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EBC6E7-B238-4932-81AE-846856940F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DF316E1-C9CF-4A53-8DBD-CB9AAA373C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60254D3-616B-45E1-96E0-37DD8D3470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D2DD25E-5B43-40F0-B566-897519399A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7437743-717F-4812-A491-47F08EAC6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906394C-875C-4EC6-8FB9-852962D64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7A2EA26-829E-4248-B6ED-10219B0696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6590D64-48AE-4EA6-8CE6-86D0447706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8C02214-478A-46D6-B2B2-BCE5325B1D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3BB6057-CE30-4B9C-BF7A-B4C555D73F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E7060AC-A3D7-44D7-B700-876E2CA1CB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90851DF-0128-4793-B031-5887A19114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A5A8BF7-3FB8-451D-95EC-061073F797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EA119E5-DAEE-4192-9886-335DC16192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0E73CE02-F2F2-48F4-A4C7-80C595243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63D6DB2E-8905-4AB2-AC60-9D99743A26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1C5AB94B-AE50-49D8-A191-C51192A3E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87CBEA8-1F72-4B16-9AA7-EEEC35142D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B4F8A30-FDA2-48C4-8C77-61970D771E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830EB1C-CD4C-4E35-86F2-22ACE73DB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FCA995F9-A75F-4DEF-B81B-64B002940D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F11F4E9B-7D90-4FCC-BC76-677BD1310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1BA308DB-3B3C-4A29-9110-75BDF4AD0B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7DC2F271-6984-48C5-B853-950DF5F14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92ECB3B3-869C-4C66-8124-8AE70D25A8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2D6B28-4A51-4744-A2B4-6E012F01B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2B35FD-867E-4E8D-94ED-30FF20AC9A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EC607B-D743-4554-83E1-744BBFC6C0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1E2264-52EB-486D-A12C-A3B3B3C978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9CAB84-12E0-46D3-9C1B-556275D399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ECCFDF-CE8C-483A-BBDD-076E8FD85F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DE0753-F786-42E7-B2F6-2462B336C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D4B3E6-F6DB-4B07-9E63-455C17CB1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E7063E7-8426-447E-98A1-332AFA259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441A996-DFA6-4E3B-BA46-3B2DB6592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A46774C-CDF8-4A9E-B294-EF40C52AD5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0F6801E-21D9-423B-8964-2238F3716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62792C1-51A8-4AFC-AD91-E84770E98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B1D81D4-7E50-4732-92E2-866F0302D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9BF6465-E98A-4851-AC00-2BF383EA0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D4BFDB0-2471-44D9-9353-2A19C71FE4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92CE8D4-E8E6-4E21-A70B-E8C30EBC17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F6525C8-F29A-4A78-89F0-BCB76A07BF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FAB101B-B8FC-429B-BA35-BBBAA0F433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FEC2548-0E47-44CC-A8D0-B8D2BC0676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D8D54F5-4307-48FA-9EFE-3A4C9463BC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3BE6068-31A5-4A2D-959A-A50BC90013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53116D2D-80D8-4D3E-9EC7-6B4FE2ACC1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F6F030D-9FA6-41BF-97EC-4F119F3DB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D692F4-F137-463C-A9B7-C6F4C204E0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D48486-70F5-4A19-A43F-06636C5928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AE9B71-1ACA-4815-B1B1-61B8379C14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3FB823-DB70-4747-8A52-BE73FF145B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27C4C8-B5EB-4AB1-A246-3FDA84C5BD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758912-38A1-4994-B0BD-48F449BF1D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8EF895-D3BA-4207-9DAC-68D7CFF58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01D887-D2F7-4E1D-81EF-4A6A06B2B4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3F2121F-3359-4084-A456-B2070ABB6A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048180B-FCBC-4A51-A65D-8E762EFC1F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7C7B1FE-9B35-47B4-B171-FA8CB667EB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CD90A13-3F79-41BE-BBD9-D94F1E168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B73FDD6-0CE2-46A5-B297-4C225D209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A87756F-6F14-4728-ACBB-1B6756275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73FA673-84EF-4F79-B896-A0B0F24DA4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88D3575-C769-4877-9541-2B11AF6503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C28178-F655-4A35-907B-42093CB5B3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4E2D46-5A32-4448-BAE0-5CB46489DF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2C1DCD-B324-4131-AE60-6CAAE65659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534325-38AC-4497-8B8B-03313C22E9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006AB0-2B0F-4512-B56D-58B0A923AB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6A29A3-32A0-4C25-995A-3E1494C00D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546252-EF35-4DE6-AE11-DD1445C7E2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6ECC62-FED6-4EDE-92AF-36E44BB2B9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49ED07E-7222-4ABA-B4EB-6BDC38211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E712736-67B6-4B54-A1D5-33B5D01223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6C8E212-5999-4377-B861-73431D73F6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46DF646-F677-4D86-A8DC-476EBC5D05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B493CC3-280C-46E9-BC62-304E8426D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683B240-9AA9-4358-9CAF-3B92B205A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6DAC038-F2A2-4218-9660-578C449D34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E265C96-983F-4E6A-8452-BC0CE7E04D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AB5C228-3182-4B8E-B49A-C3BC67DED2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E642399A-8ABC-4D1B-8A6C-43A6FD9F1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B80221D6-DBA0-4F99-8283-75FA581A4E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35B4BA8E-22C1-4338-9971-8A4B08DCE3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C4361DA0-5C16-4A83-9A2D-78809EF7AE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D12AA8A4-3224-4534-B587-2A3ECBA11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F2E0844C-1AE5-40CF-AA65-19B17B144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4FC8DBC2-A034-4BF2-9129-EDD6445E6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4FA4AA-088A-4A23-8655-371F8D393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46C25E-BD6A-4D7A-A6F4-A39F8A2F93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9F1D81-85CF-4216-B623-7C9788BFA9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0E5200-70B8-46EE-9189-1AC834CF0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0D4FE3-47CC-4AFC-9D38-593E72A4B5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D0BDF5-6248-4C00-87CE-E18FEBB2FD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8E1066-8CDD-4025-BFD5-39F152F067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3363A0-6410-4678-A9D6-AB6E0629BB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289A499-9BE6-419C-A706-5C0CC5D32A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8393144-BB77-409A-B2BF-B579F7BAD9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A1404A3-68F4-4D8E-A62E-A38CD9FAF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B540254-339C-4AD9-A86A-C9DD404484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5C5C199-412F-42BF-B28D-070F9AACB1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D6D12F0-9CE4-4C6F-9006-06A434DDDF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3033253-E737-409A-84B9-03FC810D89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3E3E2EE-D8B0-49CD-AAE3-326FDDFF2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9AEF3F1-F544-4A09-97E0-9EA12B9D41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2AD7BF3-B46F-4F75-B2A6-8CE7606F9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4346A91-A469-48BE-9FD9-6BD72484E7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C1BD56A-791B-49D2-A06A-14AAE01F9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4A71300-0AF3-4BB9-A14B-805DFB3E9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E256DBCD-25AB-4928-86C5-E28DBE9DFF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B731D38-7AFE-4397-9DD6-5071314183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1E4E6A7-8E4B-4A30-AD12-B8E60599A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FD3C181-C343-4F1B-BC05-9E12B933C1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623DC300-7EF0-460B-B930-469AB7246E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8DF5EDD-603F-401E-8E1D-A6E17324D9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3743CA5-9A5C-464D-B48E-A94472AB29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F5E68A06-3687-43F8-B1BD-172C86CF1B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F39BBD93-492D-40B1-9874-D782D8DF6C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15019C1C-5606-4681-B797-2B85239FF2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D0E11D84-196A-43A7-A8AA-8C3803D31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0AFEC2-0704-4088-9E40-80E30EC58E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433C77-3C95-4B23-88E6-3CB6BC89C4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9D2A26-9949-41D7-BCC1-AEDC72132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8A0898-F744-4AB0-A12A-362599DD9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33285A-557D-4FF0-A3DC-BDBEE116A5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38B897-66AE-47D8-ABA7-B8EAD3DF4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921556-C4AC-4671-A636-D6D2597B9C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F940B9-D73D-4DD8-A7D7-8354E6A663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998951C-0BD1-4898-A785-1E6302649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7389D73-9DE5-488E-91C3-7E709ED98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AE76D8E-219A-468E-A664-B15F998688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32FFA45-02A6-4B22-B883-7C984ADFD7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5CA5648-47CB-4E03-B85C-5946CD06F8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FAC645A-BF22-447F-9B30-DB27388FA4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CD64709-5527-4E64-B0CE-38267F6CA7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131B730-3567-4510-9EE1-ED0F42E0A3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A8D2565-F9AC-4FEF-9518-0A7F9D560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1546D43-1CD8-4BFA-BE0C-BBB7B593F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64F209A-AB6C-45D0-AACC-6EA21ADB48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3AD86F7-46A3-4F0B-8A18-11E0C184B3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A84A978-50B6-48A9-AE60-E36C51FD19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EC4B0CF-1F82-4F7F-B4AE-44C51DFE9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9D4E7BE-9334-4133-85EC-9E9DAF060E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E9083BD-5596-4503-B84B-C3101F053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F523C7-100A-4CB8-BA0D-522B6C2BF1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076C11-7AA5-4920-83F4-DFECA3062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7FDC49-E87C-4E33-A640-83CF503FBB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671E55-8343-4A00-BC4A-EAF25B429B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7590D5-BA86-4E3A-B4ED-1B9F8EA03A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BE0DB0-2FAC-473D-8DFF-7C62B573A5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5B36B4-05EB-4FD4-BAF2-68DFC107E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775C0E-31F5-42C8-8BE1-6DE6137599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35F932-D37D-4B57-88BA-6C3FB7835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AED909-0DD0-4470-814E-A5DA8F298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B40F61-81BF-4E59-9F79-B8DCE0E406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0E5A44-CC0C-4B60-8568-ED63C93AF7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F7FB86-B1C7-4646-A73F-890BDFC05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8DA504-2731-4A91-81AF-E40702068D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5484C0-5810-4FAD-88F6-891665D39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850F87-5901-41C8-BF11-F9286A83D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FB70398-1457-4B8A-939F-6FBE7E228E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7D3C103-4848-4285-957F-5AAE7B619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76A0ECF-F3AD-415E-B8F9-8F95D68E4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E310A1E-B712-43BE-B8E6-8016E6CE6E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FCB25B5-DF96-4442-96DF-09EFF21F69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254154C-F5B5-4ADA-9294-23FA45B90B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624F1F2-F56F-4D61-892C-0AB5ADEE1C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6497A69-FB33-47FF-A210-6277A93AB3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B1A6A24-0BD0-494E-8684-983B3CBEF8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4A14CBF-DC19-4FCB-8FA7-490616A3C2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8408DB2-A22D-493D-AF1E-3508A0F6A7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EDC0602-D924-49EE-8E99-8D6B05C538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13436D4-7C3E-43D0-8D23-C0FB2DC33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7C04CD8-2496-4850-9E07-ADB00185BE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ED3722C-B2E3-4ED7-ACA1-57303E58D9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28D68C5-7F3E-4A7A-BCEF-60C24667D2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ABF6261-040B-42B4-906B-A1862D3D02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22777F4-F829-47A1-BAFE-E298165293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E9F2E27-641B-4D76-B554-AAB06787D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FF7D090-C681-44B2-83DA-CD171C061C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C8E6FFAC-BB7F-43EE-ACB3-79A82305C6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EB2F98D0-E301-4B70-A0A1-47449D1EA7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BC32E34-1B04-416D-830E-FDD8FB8DC7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F7408F68-D251-4D6C-996A-B25088E210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9FD196-5D8E-42E7-BB1E-62C07E67F6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F95364-342E-414C-B91D-2A3FBEECF9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A0AE31-6797-4DB7-93FE-5F38C7058F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35B2D7-3440-4934-8FD9-D00163DE9E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837A15-2274-476A-9187-5FAE2C1238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5797DD-679D-4F61-9D66-6E4D672DE4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513A40-7375-4B69-B569-226715518C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E3A67A-4A96-4A4B-82D9-CE0A8112D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C7753EB-4D79-48E1-8DCD-35FED4E1E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2582E9B-D3CE-408A-BDF8-686981C61E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AE9BCE3-EA3E-4F5E-A2CA-F83215531A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2EF9E79-8676-4457-956E-9957427AA9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CD43A16-D2F7-4873-8960-A486D58D54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01806C7-BE21-47C0-8790-FFB5EDC2E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881BA45-E57B-4BAF-A07C-EEDEBBD746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E90400B-7F30-48A4-A2B5-4DE7AED85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65BFF28-01C4-45E7-A996-53FB85747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5071533-6DD1-44E6-89D9-7F2FC74C4B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FB05131-BDA6-4F52-BB71-6429D26314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A2185F4-E517-4EF5-9BD9-42775AA31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C9ACD30-7D29-4E5E-BF39-DE98EA6D75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1DBF82D-A2AD-40C6-B98B-99400EB1B0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7143C8A-A878-424F-BEC8-20339308E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6FC5E36-7637-41D6-80C6-A2C1D3DCC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1BCFB0F-2370-4D4B-A963-07C2FE66D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DE98DE6-3607-4AB2-97CE-4E85B598E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41D2C64-7FF1-42A5-B0C4-3527C02DE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4D6DDDA-8162-4595-9B5E-14031F6EE1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3FA1A3E9-DCAD-405C-941C-CF67F6A6A0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4C63326C-C213-4522-94E2-0F8170232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8D5C93BD-956D-4C5B-8072-66BE7F58DC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7597953D-2019-44CB-9848-1B1FDA8E4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D0F05B-6577-4898-A5C4-47C12C732A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6FBBD5-3004-4A0E-BCFF-EA8B8AA219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F5D736-47A5-4C9A-A3D9-48D62BF1B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3F4BC8-4631-4AB8-9084-3AE1629560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553BC7-13F3-427A-9B79-641C79EFA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9F89A0-0F82-4A13-AD32-DC5974EEA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4A1B78-6D84-4A04-AF0A-5417E323FC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0610CA-20DB-4816-98E2-E0B059EA3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6DA9B3-EF7B-47D6-B35F-B97C1F360F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6041A3E-EA86-4209-9651-D0C7E10FDC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533A23D-47FE-472E-92F8-D75F8D2C1F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C3FF919-0455-409C-B2F3-B7F7BFC34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E7288DF-9568-4B44-A8E0-3E8D1F5BF0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50F6F58-9268-4235-AB9E-124D86EF7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099B48B-06B8-4F7B-AAFD-21D3BC4D2A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DE51542-9EA5-40D7-AA03-EDAE8F91A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8EC4027-C19C-437D-BFF6-A52038F87E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40629CF-A2B5-404F-8106-3D944C61E1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3B7D533-F400-42CE-B0FE-B44D2D7C66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DC6DCDB-760B-4B48-B688-7D6048B43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D22CC26-F1DC-4E70-9881-F0B46B0A68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42CE453-5D4D-482F-BBE5-C3D540001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D1F0873-D1FE-4BF1-812B-CD245B49B7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F46BA1C-B163-4C9B-B33C-97E30741D5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E4CADA-E1EB-4F9B-B1A2-66290DDBF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9D51F5-1F78-4DD5-A3FF-C1CE1123A2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A37996-4F89-46E1-AD00-6DD414F71A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447490-3F4E-4B9A-BBE7-7415E307ED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2DA704-828F-43CC-BC6E-A6D327E25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F5740B-D782-40B3-923C-F8029123C3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CD2EB-FE87-4464-8FDF-10A1798E0A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7F1BB0-5442-47E9-ACC4-09FE186CF2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66CC13-D8CD-48DE-8530-19E6A7E3A4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4CC458-D520-43AA-8A6F-DD775C2D9E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386BC7-056F-4909-AA67-AD0AAF6743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A285C2-AE35-47C3-A1A3-4735B89E5A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82B48F-E675-4D2E-9F90-D86F55E8B7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E8B54D-5BCD-4624-A1F0-3F4471706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89D738-16D0-4CAA-A28A-37A9D03D4B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A14C1C-AB73-405E-9161-80150F51F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44CB61A-4963-494D-8034-F279624792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0EFC9B1-E42F-4B82-9EBE-8298830B54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166D6A4-8F57-4DF6-B84F-B4D622C505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7239C13-A813-4714-9102-608688BB5F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2A36091-92D9-4743-9C7C-8573ED4646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C86A100-50CA-41D8-A7E9-173C37B132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E04F0C4-2660-48D5-B962-68A1C312D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088EB44-6EA2-46DB-885C-440D4E88F3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17334A6-70EF-432E-AC95-FEECC76934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69C930D-6DBA-4B4B-B336-3E45DE1867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E933374-E31C-45C0-A704-E9E6014ED1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0397894-1036-404C-A99F-8447ECBF7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5E36329B-93A0-470F-9E68-DA4EA49F87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B81C1FA-F3CA-492B-B79F-DA740058CB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C841926-26AF-474F-990A-D7E0D30A28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BC11450D-C2FD-45AF-B74A-4152AFE9C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CE45EDE-FBC4-4045-B524-EAE12B5489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CBCC07DE-9962-45D4-AB23-2FB39EB99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1DF959E-7213-4082-967C-B47E268A2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B59F546-BE9E-4884-94AD-D16B0DD90F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4F1F8FD4-8DA5-41AA-9118-37F93494FA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B2B8AECD-00F2-4442-8F65-5363AB4832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327E925-76E1-4A18-97B1-DF9EECE67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9DCDA325-9EDC-41D4-99F7-6EAA0AEB1C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964926-D1FF-4F20-AB11-90B34C1739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76FC97-95F2-44E8-AFB5-571AE11C6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323A4A-295E-47C3-AA82-7A94E32DDD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580B8D-E6A9-40C5-9A49-62C3420D64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9A3DE6-EA81-4834-ADF7-A79CF93E80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44740D-0F2C-464D-9B37-51062871A0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0F3B94-7CEE-4DF3-BFDA-E65F78DA3C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8912C1-F500-4C33-BCEE-7E74C6889F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37F427A-51E3-4B9B-99B2-816E0F5A52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310A0D2-5181-449B-B525-990DFFE784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C4E8AD9-BA9C-44D4-BAC2-E16EF40FFC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D8A8689-83D9-422C-B667-2B8EA5B2CB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6DB768D-1F97-4701-8B71-B91C7302E4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71C8DE8-8DC8-44E3-8C89-99D5C06F1A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A333CAC-C110-4AE7-8008-4F0794A61C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5880A13-EB95-4B98-88E9-0B72055795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D37A390-4108-410E-9D45-3DECEF0006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2AAC8AB-6286-4F95-87DF-64C0E5961C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E8F3A70-FC59-44BA-99EB-17FFD5E55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69A11D7-AAB0-4459-965D-030118E9D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2BEA9A1-D30F-4328-8EA2-9E3564D17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466C135-2891-4915-B5B6-C3ECECAA1F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32882FC-7F42-4E39-B71C-87C66F9AB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EA42AEB-4CBD-4838-B992-DC63E28F1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9B0D0E0-B284-48A3-95EB-4033A22325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4B3272C-0EA1-434E-8654-3DC2D19AD4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73953CFE-195F-4DA8-ADB3-A5A701C6D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7F2B8A3D-4319-499C-999E-6D4E4F763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3D8A7350-26D7-45AE-B66A-8E341EB4DE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BA64E6F1-027A-4B21-A4FE-3D12A8867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D8F77057-29FB-44EB-8804-FA836A48D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5137E1D3-CB71-4712-A12B-0C3D2989A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C3EE8E-D3D2-4C8A-9A29-600407CB5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0214A8-245C-4F6F-BF19-18F809263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4E7306-6C8A-46F4-B4F1-09AF99709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BD45B0-BA79-4D1D-8D3A-8BEBD2576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DCFCC9-3142-49DD-8D1C-73C10EF576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578B11-253C-4468-A67C-725514AED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A9C574-E7AE-4C49-9861-F2A944AA3F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3300A1-3D53-4249-8EB9-31EE960EF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A5FA2D1-A8DE-42FB-8F42-4C7A52E2BE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3AC4270-F6F6-413A-916B-DA88C1D3E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463E9F5-E2DF-4B78-8D5E-C0A11CD06C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596FC35-DBBE-4505-86CC-A69014B0D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CAD2CEB-B013-4616-A387-55B6FDF3E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29C3BB1-BECB-44A3-94C3-AF57E00B8B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B0F57C6-227E-40C0-BAC4-973D99AC5A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2F6BDF5-F88B-4018-967E-49AF16BBB3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D836A9-4496-433C-B904-9E9BAA2432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21E42D-E88A-499B-B987-D9FA79B084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EA0F8D-D966-4DBD-B922-E61110EBFB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E41B75-8981-4F36-B40D-1D35440B04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320692-3D9B-4682-A39F-F5F81DE205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D835E1-153C-41A1-9353-88EA055B46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1B711A-E927-4478-BD10-8A9BF17A7F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20C701-C993-4404-A10C-07853F62E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600DE3D-9718-4969-A5B0-39834968B9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71B0217-7859-4AAC-AD88-35A8529DC2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AB5090A-0F89-4B3F-95F3-E2826A1B1F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839338B-57D7-465F-B2CD-8BC9C2446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77973CB-60E7-40EF-99A5-6D08F5CC1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08D52A5B-4A4A-4635-A2D1-4CDD66B0D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CDE83F4-D9CF-4F2C-83DD-245E1FCE8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96D25DD-1498-4169-9284-F7E28C5321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884570-80C0-4E06-878C-0238C02517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9D9B8E-6FEB-452E-BB81-98A981622F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3D331F-1606-4AB5-8700-0E829D6A8A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629A38-208E-489B-9D9A-1120FFB2B5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4415CC-E872-4EF7-A128-E11DA6F2D9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83C013-6F74-4025-939F-DD609A262D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136EAC-1F1A-4C51-9AD8-3F2D6F33A3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6A9A9F-3FE7-474A-A9DD-8585EC16A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EEB8B73-AABC-42A4-93FA-5235588F4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0BF9E85-452F-48BA-AB47-3EA3DBFF39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68B9CE2-6DCC-4725-B953-C24D97AE3B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4452191-5D7B-4F79-9041-E06DDB191B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50FD77B-8298-49AC-96C8-EA26A5507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D0290A7-4CE1-4CA8-80ED-4AEA1B3DC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47133EA-CDB5-4AD5-88F1-17AB2593D8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B3B2C17-531F-43B4-8459-359A4D0E4E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7ED7A30-8044-47F8-BF2A-3896FC2550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6D3254E-41C8-41EC-AC1E-0911A0ACF7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05D82F9-0705-412E-A475-4EBC7943DE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55C2081-5ABD-4A3F-AE1C-1BDE2F698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8B2C508-4A05-4C3B-A46C-3B02457AE7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E31B7B69-12EC-4D1E-8F1F-4466DC872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52D76C6-3AA2-416B-B129-FBB1A0C1D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B63652F7-5287-4C47-8032-228C54670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AB9A31B-BE04-498D-BF7C-EDC118353F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353AA81-AF76-4075-A369-F430B9A81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E942364-D58F-404A-877D-FFAB22B09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EA52756-5966-45C4-A3FF-4A43AA81EF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8D13DC0D-12EC-4D3E-906A-33471E9905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F9628751-1856-4FBD-932E-B4D41CA556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FB9AF79-62BB-4AA7-AD2E-2B6C175A8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84623594-1EAB-4032-A08A-413013233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8C128F-B0B1-47D6-B530-1D6DBC85B5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290199-07CB-4A0B-915A-E7D3F6540C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D94141-3580-4E31-91B7-5CB4A07624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2607E6-66CD-4767-9681-72973E61D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AB9FD7-916E-4D38-8E4F-A53BBFA740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9E69E9-543E-4382-95C6-C9F9B6E29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4D5ECA-1E1B-46B9-83F6-24B3ACD3AB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C30FF5-10FE-4F59-BA2B-AAE29E52D5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D7AFE0F-838B-4DF1-A814-125CD854B4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23B5FAA-C5D2-4746-9BC8-0C7BD6C43E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40D0C29-E5D7-460E-A971-46965D3BA0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7ADC59A-458E-43A6-9436-B78AB3E0CC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D7A7993-3123-47C2-9440-3874296F6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192CBA1-67F3-4ED2-8333-B5B4ED3ABE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D800161-6052-4CA8-B328-6E35D522D5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6770F0C-21D3-4271-9CE9-2C5BF4B78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B3CD302-8107-47F3-A23E-5E5E73C19F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56AF0F2-A012-483E-98C5-04CB080EC8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9D7E4C8-81AB-4D15-9CBB-8737379C88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FD73291-2EEC-4CFD-85BC-028995FDD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7F7D088-8942-4C03-918E-4D905558B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130E293-F2A2-4B15-AC0D-79270D9D18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BA40DB4-AB7E-4F9F-9077-1E7EC3FBB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A5F4390-AD46-4E87-AA7E-63FFC8F7B1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9B547FA-E7EF-48BB-A22F-AAD498C3BD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99CB0CC-8592-49E7-9861-018DA2853C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D94EA07-D0AD-40D2-85EF-EF059DD62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F70CABB6-B954-4230-96D3-B3ABFE9E76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3CC1AD07-91FD-4DE4-B3C9-DB689D92A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9879B61B-A17A-4E9F-8650-22E106D175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70DF6850-13F3-49DE-BA01-04284DE324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957347C6-EBC7-48D7-AEDC-4E6C55533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D30A71-6622-4A41-95AF-DDBA7E07C9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2C1905-C89B-49E7-9E4B-925C0DD9BE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A5B8EA-61DC-4B12-917F-F5B0ED94E6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B9E0FC-9E9F-4F96-BF66-63E901804D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41DAA9-ED61-479C-A2C7-5C51384476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91262D-D998-4027-95D6-AB978B932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1EBA94-1806-425C-81F0-D7A7DAB6F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7B8806-3C84-4082-B8AC-27657DB8F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7F5014-EEC7-464C-B2CF-7AF3FFB34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74F0F6-21D2-4B61-AFE2-E02E9DE63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42927A-410C-4E86-B49D-A4F53ABE3E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5CA2FF-0E77-4743-A3CF-1BDDAC6A1B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29AD3A-55F7-4B78-87CA-0ED37DA9D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43EA8A-7EB2-4ACC-A082-58F149A370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B979EA-821E-488A-A8AC-99864DB450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887858-8C10-4A2F-B6ED-BCE2E11399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EEC49D-59A9-4194-8F7C-F6E3BD7D3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66AED92-B3F0-43E3-8E1A-96708E4B0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55476F7-FE46-4A28-9AA4-7ACFB23951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D7C380A-40EB-413F-BAD8-7C9DBF51F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2B43189-884A-4772-AF51-6B151C635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5E70F37-2A6B-4E22-B99F-47C32F0A4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6A72E86-46FE-42F0-9CE4-E649FA23F0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905B51A-20D4-467F-89A7-86652456AD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9C3FD2A-B3CD-4008-9BDE-F9993A484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ABB75C4-1A12-4603-8F0A-265E600906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6C29C9A-5C04-4D8E-BED1-678D6F26A3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9A2AEB4-3C8D-455A-95DF-F066B3272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EA54785-D42E-4CAB-9E3E-2B2ADF7CC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68F8635-175B-4D02-BCB8-A2DB7DD5B7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369FC4B-C922-491F-B9A2-AD0E87DB4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B162C2B-BC4E-494A-B11D-207E99E28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057B9B-BD12-40D9-BB2E-2E6F80B68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DAEDB6-38AE-49AC-853F-1D2E7F4E9D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49DB60-058C-4D60-A3F0-1FED4831A3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BF854F-F83D-4032-A96C-058760A879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9C2330-C1B9-424E-AF13-E97A2ABF9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A19DE4-3226-4139-9488-AAA8DAEBCD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EAE689-977A-4AD2-97FA-71ACF69F3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35A53D-1B43-43F7-BD70-55D714F8A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EB29EE4-8F9B-4D34-A0DE-F27B9299D5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15E2C1B-3150-4347-978D-C5232C706A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0EA853B-90FC-4E24-8587-5281F3C55F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9237655-47AC-46E7-8C3A-4BF345432D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6637573-5DEF-40D3-85A5-B9D4C9F27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1D5131B-02C9-415E-9257-5A586225D6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1CA54DE-AAAB-4C05-8C5F-0EDECB62F0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B81DE32-3136-469E-9F1C-A3B906045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591D444-8EC6-4E50-AC97-9AA17D2EE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857978E-3262-4E23-8AF7-06454035EA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CAB2A06-865E-4E49-AFD0-BF2D5A7567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31BB4CA-0155-4C19-94D0-4B3B94E73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A087F40-E6C5-4BA1-975B-E95E15C27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AFE07EA-2C10-405A-A192-9212469080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7814D896-0294-4C0F-B46C-6458ED844D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6E1C572-B9C2-4DF2-94C4-ECDA03AD60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526D583-CCF2-472D-8AD5-C964CB30E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20144A1-9874-4FBD-87B9-940C1C03D4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7BA2229-6339-4B27-81B5-8873D55D53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80AAB5A3-D170-4086-B859-DAE1C8CF7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9BB37729-1DB2-4292-9743-C9C19666EA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E893F8ED-D7A6-42D9-BE03-1685A24163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8130A750-E532-444B-B249-AEB6C3978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EF938E95-3F23-4395-B812-5C099CBA8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235355-9243-4428-8BA8-8CEE596E4A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357250-D2A0-4D63-92E7-6F37834ED1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0047EE-E017-415D-8666-DD5C9DF06D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E25736-6680-47A2-B464-03745F3130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7DDA63-DD78-40AD-99A7-F15FCF28DC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718159-A145-42FA-BF5E-C999453C30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03D6E9-9E57-4C63-961A-4E0DF9D6A2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B6190C-F9D3-4E15-B8C9-D6F497A66E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F015677-D8DE-4983-919A-E0D5DDEDAE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82FC63B-AC60-47EA-8205-09EF28746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BF335BD-BC15-4E6E-A511-6007B99D3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C15F7FE-F17E-4DD0-9F90-E5E8D3F0AD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0C5235C-84F5-4069-8BD0-8058B43BC0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9F9D23C-1C21-41FA-AFCE-CBDBE94AA1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807D797-A54D-49A1-8E97-CB7671D83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AE517DC-4971-4B0D-BA68-DDB26B930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5DAEF82-C384-4A1B-AFE8-034C67720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3EBE34D-E6DF-4418-BBEA-4C05CBEC6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20FA3CD-45B4-4B13-BB72-CAC01D2B4B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8976B8E-2E3A-4EC9-A9EF-3C919A7CE0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C64F9AB-1665-4EEB-A779-38A1BE4783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C70A4F8-C5AC-4316-827A-3282ACD35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9B2189F-5CF6-44FC-AE04-51271C280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C447E38-E4DB-4506-B56B-B9B52B0116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18F5087-E048-432D-802E-711C4E0809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8BF2D871-51AD-45FF-830F-9C54E3D5B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06E4DD5-DD32-43F1-8F89-E926ED5CFD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293E507-B839-4A8F-B2C6-E1E62C790A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E06F79F7-5C47-4475-B52A-D7177D7A2A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9BD2654C-5945-4C2A-892B-1C7373B4E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3309F59-6EDB-4265-9E5D-498179D32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C65F41FA-3858-4A19-8D1B-4E6295484D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0BD2F7-2B25-4151-A8F1-E70C4D4CEC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AD1BC5-6EF7-4FF3-B33C-7F578AD859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14E073-B63B-4B7A-9CAF-04A7B41F2F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9B567D-EB4B-498B-B4A9-52563DAEFC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DA1DB4-6621-4879-B026-DD6651A09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694D9E-3193-434F-8AE4-BD1B37C97F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58A6AE-E608-4DFD-B16B-A655C164BB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C11B79-93A9-4639-B8B6-BB3CB8C199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CB1D02-5A55-4DBD-A217-668729147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6ABCA4-BCE8-4424-9140-A6CCD5D012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1B3180-D812-4A81-8C07-206403C8D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693CB4-168C-4C2B-978C-8A1862D57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A607E6-438D-474C-AD75-06DF6D767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C0C0CF-48FD-479A-8E21-6D55037CF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0FD7DB-5B21-490B-A331-78E8FAE24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95DFF3-9E20-4637-AFC4-5425D4B4F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BF44A7A-3D98-491F-B0FA-D39E8A3FEF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04AD8D0-B8EA-4642-9C7D-EDA5AD2249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DD44E29-AD95-4360-AFF9-A6EAE5F40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4B5DC3F-1DB2-4D33-86A4-451063ECF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EB9BA38-E0EC-4325-8771-74484411A2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32A3138-1F42-4018-8F3B-06ED24501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F2EA568-375A-4DBE-9F01-6EAB3EF1D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9775E13-8832-482E-9503-8C6B161FBA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6742F4D-50AD-444F-968D-7629CE3F5D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60EB5A2-B1C7-4AFB-B521-0F3F3F7C4A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74AF67F-C5ED-4C46-8EEA-4E446A335B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FA6C247-64C2-4AF0-B6F4-3FF206FD4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973290E-9671-49D1-9585-C66096AD9C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658B5EE-6EA0-4368-B07C-AEE491F7D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A3B8E49-7F56-4BB6-874A-2EFAEFF57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C41B598-D713-4D6A-8B9F-68997F5B2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98B31F-9112-471A-8D24-0F914BAF96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1C1F43-916B-4642-824D-5C13614F54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400AA4-976A-41DE-AC47-36E9C65CD6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7E0961-1067-4D7E-9314-40E274946C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0A88B2-598A-450D-A273-472FA9609D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BB5812-F25E-40D5-ABEF-211CB86372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9F2563-A0CF-41C1-B6EE-D329941A7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25989A-842D-4769-BF69-E96FFA8A97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2513DD6-FC3B-4BAD-847A-B010207C0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8010BFB-015B-4483-831F-0C409776C1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CB90BD0-4F89-41F2-98F9-256AC2F50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39BA2FD-AC63-4C43-9483-472E47259F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B4E75E9-D96D-4AF8-B8BE-27F68D2158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3DF4B63-03EB-49B8-B563-F1A3481F9A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9D6A475-1AA4-47DE-9123-644B455AF8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8C102B0-B9D0-4980-95EA-6DF900054B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AC4C605-64BA-47F5-9B19-DE85A4948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6F43BAE-B562-406E-B918-BB058ADEE8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07CE0CA-E8C7-4F28-9056-125483F00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4381E29-6E06-47F5-8591-26445DA92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DB86590-AA2C-4015-B822-3D0428B317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09961E29-1FAB-429E-A0A1-D469B9799C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039AD80F-2ED7-4D42-A85D-213EE6E9C3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B4225F38-EB63-489C-B3C9-D4850EE90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6DDE6C37-BF4C-49E1-9EDE-9274C9B406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111588B-A774-4434-B9D6-DAB201EE8A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B3C971C-8C8B-43DA-8FD2-11575BF73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2AE94D02-DE90-49CE-AEB8-ACBBFBFACC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99CCE0B8-397C-4C03-9A82-4B133CB51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C776F06F-C9E5-40B1-930A-CC8E1F9417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EDB029AC-32AF-463E-B4FA-CD14BE3E3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4B61C286-B25A-444C-B1FC-888931120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011B0E-D437-4B13-A1CE-74C14C8666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6AEFA0-1F5A-46E4-902A-D701D83A5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65F196-89AE-4369-B64A-62A27C47C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D65098-76D1-4B98-8B6A-F87B6313A5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7E7710-32FA-415D-A73E-DF4218CF5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96F9F5-FED1-4DFE-A85C-FCD4F7DB4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46F582-DF9B-4212-A7A1-F8BBB35AF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20864C-45CA-4C98-9962-BF1ADDDB2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D70F464-EE45-48E7-B383-AE3C4F7DC1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4896BF4-4F4E-46C2-BC03-0E4991E2DD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ADBE999-53D6-41FA-9A64-B389DFA844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3DC0959-721A-44B7-A471-3EA387FE51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EA03506-6788-4941-9B87-AD407002F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0C7AF52-300E-4485-A48C-748D5497E9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293138D-23B3-4594-896B-33BA1E5BD0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73FCD2F-5F26-4BC7-BF66-A150E5A19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72A82C3-EC94-4FD5-9898-80B1B8845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3ABF7C1-6930-4D02-A974-F90629D590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F545A17-7E24-4266-B861-D4D92D357C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6B37C58-AB58-46DE-A41D-26AC4FE4BF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CAD405F7-683B-4453-9C4A-7EC52A238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19993F6-B8B6-4A34-B1BD-31B8C24D9C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6B985E8E-F953-4DF0-882B-78C2EE89B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71C4559-F18D-4235-A298-48B8AAADF8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82316F-F1D7-4065-80D5-E5AE77479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C04733-F838-4717-ABC5-C764E59CF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CF980A-E73C-48EA-ACC0-EA1C40B871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3D6118-E710-4125-B1E8-7450DB4A6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ABA192-2542-414F-B900-D2177B8215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1EDBA6-C325-4173-836B-531A6E299E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500B6A-1C13-490A-8B7C-3B1ED4CF99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339E81-E104-41E2-A32C-BD905B2364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07D3D9B-587A-453B-BD59-9668ABB90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C960845-D127-41C5-8E0B-BABB3918A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0BF0C5A-3705-4849-80C4-8839184AF7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4145C65-627F-4A6C-A86E-76D8BC4ED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4900E8B-51EB-49DB-80DE-2C1388820F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F7A6391-2B88-49B9-AF28-2452588254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D1034B0-6866-482B-8DB4-4BD1F3615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7351E80-84F3-43B7-9E47-5624704E9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EA644E0B-4F37-41E6-AAB1-3E7FA846E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B88052D-D556-48FC-BE4C-720664627C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5096754-0B18-4161-93DD-FDD0CA0B5D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AF2A5CEA-AB5E-4FB2-8D13-A37E3B92A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8AD9F881-CB39-4926-A3BC-E879F909D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9D1BA4CE-9E63-4C40-847E-91169112C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5ECEDC5-E8BE-4A1F-9775-CF6AF2EEA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DFAD1BB3-DB15-46B7-9BF2-87A01AAFA2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A4C001-83B9-43E7-AE17-0AA1A78278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3AE281-D02B-4F9E-9110-4762A511FE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D304E7-AE8E-4D55-825A-2578E5584E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15E69D-3B3B-4BAF-911D-2EF1ED587A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D40272-B5A3-496D-9A15-108FD527F9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4DE684-2893-481B-993C-BE532AB74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58D90C-EEEB-41C2-B663-099517B825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C2DBB9-E26C-4E56-B5B4-CA7775A6ED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7A3EF1C-EFAB-44CC-A0EE-7BB50A7580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12DFE12-DA7C-43FB-8B07-D0D80CF8F8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F385082-05AE-4839-BB0C-7A96A5A59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CB40B5A-6ECA-4C2E-B6D5-80451FAA2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B4F1E07-7265-4529-8876-1167DA0275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1C5E0A4-1656-4481-B54E-A6D28E1D07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F7CAA7E-54EB-40A1-B68A-BEA5921C54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80D30D9-2F13-4396-AA3F-02C3E8E317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3CF119C-8D0A-4931-9E11-FCE65CD4E5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C9A8F84-9154-4BAF-8624-8206827D49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C55F7F6-0B35-4CE5-9D19-A8FAE3F90F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2C3FCF8-8890-4F87-8BD2-23D356BCF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8525D26-BBED-4E1C-AA7A-7C78886167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1E0C438-74A3-4292-8BED-4265736D6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61E60484-74FA-48A2-BB80-5D55C295F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3A8C0B9-8232-4C27-854F-EBE59C4EF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A59BD9-E0C9-440A-A6AD-27A60AC0A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799AD3-7289-44F6-A722-239018B164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37AC6F-EDA5-4EF6-8CBD-275371B237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387974-F14F-4B19-A49A-487F94DF3D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85E9C5-FC00-45A2-884E-7CFCCEB3DA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64205C-D43C-4799-93A0-BEC6010DBA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C1DB72-8FC5-4E3C-9B44-C082C341D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982D55-2606-4A06-BA58-5E563995C4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79E43B2-ACB6-4460-82A1-26BB31538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7C30DC8-9363-41B1-B14C-24789F7D80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720041F-593A-4A35-9683-7737F8022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C6C88EA-3CBF-42AB-8373-F51DCB0DF0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B96E042-C89C-4FD6-B41A-423653F7DA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8DCDFB4-A40F-493F-BE6D-F3E954E15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845653F-278F-4A0A-8C87-165918273B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E9565AF-4D11-4AAC-846F-988AA4E78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EC94E06-D796-4FB3-A393-A0ED0AF439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4FA5A42-34DA-4CF7-A495-65A4F5620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D09319B-9F04-4CB5-9679-DD2AF1B62A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C4D9A10-9FA4-4F94-BC33-A77E13E6B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ED959A5-56DC-441C-9B46-EEA94B3CA6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3D716D5-01C6-45A0-821D-8C99171F9B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2950B36-924B-4ABC-AB0E-A081635B48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A34AEE8-5DED-40A7-AAC9-ADA2323CE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7E91E7C-758E-4B7C-9669-DAFC85E90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CAE297D-43CE-458A-AA05-441CD5B757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FE84AF6-CCA9-473F-A3CF-3F6961C4E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F26B0626-090F-4233-894E-CE12C05A0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E0C0A879-844F-47B9-8102-5E45F9C87E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82F2F5F2-0ADF-4F4B-BCF9-68C0F42BB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00A78ECA-9B6C-47AB-90EB-6340166F2B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DE2CE377-AD6F-48D4-B565-5E48C96E6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A2C70C-7327-42C4-8768-29A0CBCA1E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CAE452-6B25-43BD-A3A1-CDF6AFCAE0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73DF0B-0F60-4430-9D09-F86687EDC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CF8F8E-4CA1-4AFF-92E6-62A8120709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343A04-0DB0-4C26-9278-3365289572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C0E364-65B2-4672-8C0D-5AABC374E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067CFE-6FBB-4DB5-B20F-C679E7ECAA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F8DFB0-66E8-487F-837B-6008BADA48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3AE2C6E-33C5-43E1-9D50-4B7525C212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C616B4B-44B9-443F-94D1-258F59607E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7187153-5EC6-4C6D-9A3D-6E9C2C6C4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481D9AA-B654-49DD-A806-662E0B0E5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2E78888-3DEC-47B5-8456-9B0EA491B2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4DBDB12-960C-4F62-B8A2-69DD85C5D1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0A391D5-E719-4A4D-B5B5-FA61386DC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DF2EACB-295C-4C5E-8896-8C95C566DB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E0CA67B-A068-4D30-87ED-5B3202C2FE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8E3D3E3-E393-4221-B83D-94F79FE683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3CEA070-46E9-4FFA-89EA-EDD85A707E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86D0594-4F32-4A7A-9963-B26EFAD344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F0FA08C-B95B-4236-84BE-A56FF6DDEE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EF62423-C92C-45FB-9A70-8986418A0D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F67E5AE-2C15-409A-A895-B8A595816C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10E1FCE5-4821-4DC6-B1E0-E5F388DC4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1AB6E0E-8E6C-45A0-AD21-BD7DEBF79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A5D5650-7C84-41EE-B876-408D84E005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535E963-C3E2-40DC-B0FC-40B3BDCA49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F3BF9FD-5FFE-45D3-901E-9AACCE8742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5F6EA0A-0B17-47A3-9F06-5650B63DC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43A0D641-9481-4E8E-A220-9C16331EEC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84310D1-154A-4C3C-A919-978B8D251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E83D1A1A-3AC3-4286-B27E-EB5998B906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2627D35-7087-4775-99F7-E7E11C79AF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58881A7-4940-4B83-B567-EACF84D373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09DF734-C433-4085-A0C3-D7960763F3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CB3A913-80D4-429C-9817-78754FC7C4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7ADE5D13-34DD-4DBC-865E-EDB7D7A78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9408A33F-A552-41ED-88CD-7332364303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B50E3C30-457E-4D40-992C-CFFB33D72C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70A1969B-F0FE-4231-9FFD-514F007A0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49DF01-E8BE-4F34-B7CA-BBC3F35506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18D7F0-89A4-4F26-B895-238DD3A7A8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FAD24-D8A8-4D7E-A3B0-22A2B6AD9D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BB557B-E0FB-415A-AF26-0843AD4F64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C982C2-2613-45F7-A416-6D73884F34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5D2A2A-CC60-4DEA-8777-981ABA4C15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9ECA05-1BAC-44DD-AA6E-7BC5749B5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130DF6C-B51C-47F4-BCAA-48F847D6AC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90D9D8B-8BCF-4B95-BD77-997206BE9C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E060C29-4980-45A3-B6F4-A39BC1F6CF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14DDDC0-7C07-411D-83C1-3B427AA589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D1C58CE-FFCB-4E61-928A-030906803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6480BC4-1CE6-4E2B-B4F7-F763F3335E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ED2D58C-9487-4AF8-A8D2-1A90875532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66AC9F1-16EE-4552-AE29-E72DB8D68B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AD4D6B6-D3B8-43C4-88F5-6921931574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E159176-19D2-4B96-AF37-4651176533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F312D09-C220-44E2-A5D2-328F758B4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A6FC98C-9D47-4A94-BBFE-C5CA116C2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F3BE942-DB8D-41B4-9D67-1C3BFABB11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C6ADF481-F1D2-47CC-B308-7A0CAB60BD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E1DDD191-47CC-475B-A69A-70E50B629C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432A769-6C02-4390-AB97-DD628D0BFE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BA8A65ED-4EB3-4781-9883-8BC9E93E7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A0BE60-3F89-43FE-B6D2-4DF8F23E36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48CBBC-F949-4ED1-9BB0-9D27A8BF7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2DFF34-60EF-4D43-856D-0A2A54B49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AA65B6-5C4F-459E-8604-5ECB947E9A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35B726-C621-4255-852D-BAD4EB71F0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E94DAB-DD2D-4FB0-B8E7-6626DF4608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C9F7DB-B92A-46E2-BF73-58D216F48A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D3D37D-D5D5-4D53-9A00-D24685C698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B163A46-2B24-4094-B740-549883F4AF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59D8D1D-E0A5-4DA7-B4BA-F1C5CA99E0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06F3820-61B4-4C6B-A7AB-AEA5295208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4A67D36-69F1-4D55-8C87-91F80534B0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DC81256-8E62-46F9-B3B2-5A27DA3C54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EEEE89B-66A6-496B-A30F-1FD826B044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1701854-35FF-4307-ABE3-672D9E0512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4F8F170-17E2-4C9D-8CB1-9456138A8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6148F55-F262-4199-9EED-974585784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B566ACD-5EB7-4D7E-80CC-2C3FF0C63B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3B6A070-7758-4EA7-83BF-FB24BC2BE3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75B68BB-B589-4278-822A-08F9BE970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80C8FFA-AD11-4F8B-B193-E380ADA29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42BF1F34-3888-421F-8FDE-889026137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78952E3F-7D9F-4A7F-8D8E-054F650BC9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B8CAA8F4-0A27-4806-BA5C-2246CD0E7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19BD07E-2562-41EE-B216-E6D13F6EBC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7E8D09E-A525-4345-BDA5-4FA4B13C62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E1E705C-D5DC-4296-B12D-3710E80C4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6F4AC4B3-C7BF-4C0B-88DF-9B14D1B74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E1B421F6-DE83-43EA-B630-A4E3668FA4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BF61AA0D-B5DE-465F-9EA6-A59CF842E2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6843D637-98A2-43FF-9942-7C270AB19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8005F7D5-175D-4BC8-9E22-FAC49CEB20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B11EFC-4298-47B8-B33B-90DE96962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C6344B-1CFB-41AE-BD9B-8D2E0226CF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E6AE31-288D-4AC0-89C5-4D04DEC2F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13DBA7-0CFC-4BB1-A991-39D3BCEB36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459BC9-4AE0-4FCD-BAE4-1A658B3A50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724405-3035-4B78-89B9-B3CCE37AB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519F88-73F0-4A19-B6A3-E15C6A88A2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D70397-B901-46A9-88E3-2CA98E306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FA297D-5BC8-4138-9095-24ECDA25EE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57479A-E2C0-435F-B772-E7755EDB5D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A5E471-09A4-4400-BBBE-326E12B8BC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D3A7CB-4051-4F39-A359-0F801E5702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EF2897-38E3-446D-A21A-20BE723A0C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807F6D-ADE7-4939-B91C-158A20D55D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C7E8B6-DCEF-4DE2-A0C3-B4A617F7E7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A4EEC7-E8AD-40E2-AC46-07D2EFB6AA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61ED64C-AF81-4616-A991-CAD41F5E30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2DD6A1A-B8E7-4F69-97A5-D89D0B373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FF356EE-2AE0-4A3C-B87E-16A31C323F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87DF058-154D-4762-978A-6669BF3301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A1C0811-B3D8-4017-B0F0-321186045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2EC9065-5C89-45A7-A000-4E17326BE8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4D7BAF8-A198-40DD-BE16-40312A845A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28434B6-0D04-443E-BEA5-D52506224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7070AED-7D6C-479E-BEB2-E6D0094A3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AD5592F-E64E-4E08-9920-E372191F3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206B653-CCCE-45D8-B6F7-643EC0B310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C6C2BF0-32DD-4E0D-B485-7DA549395F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5B5E97C-A367-4565-ABA1-6ECE784C57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428F862-C8BD-4220-BB20-71443C4281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AFC19F0-7ABC-44A4-9BC1-ACC444CFB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EB44FD41-7AD1-456A-8840-C37803D296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87FABCC7-22E5-4619-8F6E-C6A8A15A90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7E711D6-3311-4A73-9562-43135AA8F3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BE48465-1921-4020-BB24-BCB05C21D3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3F306B00-B55D-4775-9F9A-2AB34F9922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49117902-B486-47BA-B798-6CB44870E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D3C70DEA-F31E-43E1-8DEB-AE3A650A9B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8CAF2B8A-901E-490E-BA3C-70E5B9F83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D9305E23-88D9-4BD9-A7A4-912DE8BED7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033963-4ADA-4FD5-ABCA-2FBDACFC7F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4169C6-9AC9-4091-A0D7-97930B8F31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1908FC-B15A-4055-85B8-9F5F6C5A3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162A06-94FD-4CA8-8DD9-FDCC97B1A3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185CA1-A9DE-4044-B1A5-7AEDB1053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5CE2FF-E2F3-4294-823F-D5A1024CEC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251BBE-426E-4404-88F7-CD9E50B8D6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849D93-EE08-4F7C-ACEE-3AE93550A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248490A-F07F-41BD-9000-152D3DF95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1B365CA-9962-401C-ACF5-D72A3CAC5B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9E6D48F-2DDA-4CC8-93BE-646A671DA9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D3B57F2-EF34-408A-86AF-DD6B744D15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0ED615D-3363-470E-8FC2-9026A1CA16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584B982-53C3-42F1-B591-E70D3DF25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036C96E-2453-4202-AFE2-3C238DF1B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A8CCE1F-33DC-4C29-A670-341E405331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5940D18-4189-4D57-93C9-6947C4A2A8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A632566-BAA0-4039-A5C5-0E82A2823C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F7D12C8-BF18-4E96-B893-CFFE509720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B79485E-1686-42C4-BB1B-24D88C3F67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EA3A661-52EE-43BC-A503-6799CF47C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BB6FC45-2AE3-497E-B251-86C80B9C2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8438DCD-44EB-4B7A-800F-067FD5E2CC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564412E-BD33-460E-80E5-20382D9E57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552972-3976-4A6A-ACBC-A11C8410B0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62AF1F-AE41-47C1-93BF-BC481AE6F2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235F87-F6E9-4075-B6B6-D7EA4E674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531B17-6DF2-47D0-9B0F-D154C12DB7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7E053A-6521-4453-8189-82EA653478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63D294-D0DB-4A81-8F98-C9C2275DB3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37C40E-1B8E-481C-9E1B-CE08760684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B5B9F4-BB65-415E-85A3-6994F998CD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6E7653F-15F6-40FF-8D0D-FE632AAE4E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123713B-809F-4D24-968C-181ED7DBBE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61861CA-96AC-4F19-96CB-BF88D12F36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2736EE0-1EA3-49FB-8107-E4BED69C6A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CE407F7-0A8C-4C8D-B307-998B82F084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47926FE-ACCB-4467-9AB9-AD7EE52F6A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479BBDD-BD7C-48D5-982A-04F9057661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E5D2E45-7F8C-458F-AECE-4A429B57D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BA1A4DB-D39C-49D2-A597-2690C9AEE0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6FA5247-541B-49F6-BD87-FBCDA5DCCF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A737D64-7899-4B1D-BD2E-4E92AF421F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B5BE11A-A470-49AA-A2F1-4C8D036E4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A411FEE-02DE-434F-8C3D-D4945C15C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B773B1D-BA97-45FE-A54D-C4F87CC7EA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CB234C5-D38C-4106-8B31-1BF3A4E9A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9D533C7-990E-4AA3-9D2F-388AA3F951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1F82D93-952C-4113-97B8-B0E9564516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2B56423-C05B-44B3-A6A0-0FAC491497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B87FD79-3471-4DE0-B2B9-7F677C596B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856D3698-0588-4565-8134-1ED4BE8AB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0A57B281-BDD3-4585-84EB-B39903CDD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B9985E62-5D20-4EBD-9D67-345578035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46F0D305-94F3-40B2-91F2-E7AD52158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52A012DA-1F01-4785-AC13-C4A99AB63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74A9E2A-CFB5-47AB-9314-8F6E9DE26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1DC5AD8-A309-4274-A87B-3D2788932C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1ECE0BE-D1DD-414D-92F2-3B066CA7A0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618653C-AF01-4A92-9B01-75AEB1AB0F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AC9A12B-76B6-4FEE-925F-F2F46F7312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7FE1DA5-74E9-4A1D-AA9B-008DAC5596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AB336CD-4D61-4595-94D8-EF6C029BC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193212B-DC2B-47E0-B298-B0CE292B9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DABBE0-2218-43F3-B9A7-88A9CECB18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C02259-79F4-4A04-8FCD-B149DDC2CF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5E1F52-CD31-4212-8EE7-AED8D4B00B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B02F9C-410B-49D5-BB1B-1B547D25C5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677D80-3306-44ED-ABC1-BE39C5960E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B54FF1-8CCA-4EE4-BDCB-0F5454BFFC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3DD3D0-BE27-4671-94B4-01D76DF00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A5EE9E-C30F-4DE6-950B-10F85779C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A15FFFB-504B-4D36-903D-95C26F7C5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008AC19-61DD-496B-93FC-B456ED20D3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122042B-75DB-4065-B398-842E3C632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249045A-DE1E-47C9-BEDD-F460748A7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7E716CE-A025-4A9F-964B-8607B6E5F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D1B25F3-8211-4920-9A9E-4E90CD8CB2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7B70293-E734-4601-9B28-E82FE277E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49633E7-2970-45E2-A406-955BD80D4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162C6E5-4A34-407B-BF4B-AB7F415207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B8409C6-08FF-4750-B762-071C3AE190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F4593B8-5D9B-4927-86A4-29341B076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6B17169-2D76-408F-9B00-E311A79F27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A7F85CD-FEB3-48F8-9165-47377211A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0C114A4-FE85-4126-B411-38A64B080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CF59742-4164-4484-A6E1-5648BAC0F5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FBB5DE32-70C1-4D45-B12E-DDC907313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CC0D042-B5D4-4831-9BD1-E7BA5A0F45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CA67DC9-EC42-44CF-B132-EF741EAFD8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4183059-38E7-44C1-9556-73200D99C0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83D4E84B-31AC-4331-8382-622E5D53B1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E1C6C601-E2BC-4346-82F1-FB115E2EF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79785679-FC47-49C5-BB07-6509EA455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3E6E9346-2DB8-4103-9F55-4FF853996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8816CC40-22C0-47A1-BF51-B2BEBF21E2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D1AC18-A1E9-40F0-8415-77B20FF1AF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90861C-920B-4609-9449-7A74D92F85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1A339E-7F59-49D5-9867-72059D03F2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73CF93-FDFC-485C-80CC-7676B99ED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05314D-F6DE-40CF-B4ED-40A4E9D2B3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9AF4AF-9081-4AE1-AFC1-4D15371A5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F2CABB-1969-4166-8B5D-FFF0516867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43F9A6-5D6B-4B06-A994-F0F67A30F7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2FDF8BE-E949-4E33-95AD-8E1550ECC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FB11DDA-E29B-47E9-8A33-46DE176D8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7BE7D88-9E75-4BCF-9472-6D421644C1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0181D9E-6BC7-46E9-A28A-9FB7466A10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913DB5D-C55B-4BC9-9765-E3F7468D7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A942419-B549-4D17-B91F-75E66EB23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68CDA40-0CF0-44FA-BB75-CA49676AA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8277F8B-FCEE-4227-B7B8-BBA5FD897C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7A8EDE6-FF8F-48A3-8578-464ACB5F0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6C9D462-CFA3-4757-84EC-00731B3E0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008D282-DC9F-461F-9A23-09A80C61EC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21D7C0F-2A39-4BF5-8ED3-37ED04D14C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14355F1-1666-451F-AABD-8BE038F40D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3995D1A-BA00-46B7-9E9A-6DC535DD7E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D4F30C9-0541-4CB2-BAFA-97AD5448C9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A66B275-4C62-4E83-9A8F-A527EAA0C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69907C-3C61-455C-9612-FF3BF6A1B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BB2C76-532F-487F-8051-F32D454879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D0EF56-510F-4271-B7CC-7E49DE1386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D9B923-1648-4D5D-8518-3E508EB0E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0143EE-B9BA-4735-A3E3-35550D022E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0CB12F-8B99-4A4B-82ED-365BFCA956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A113D1-B2B8-4351-96CA-C84A16F78A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543F3F-0F01-473D-AFD1-C1807FFA2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E690A37-25FC-4CCD-AA64-932AC0635B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6ACF09C-557F-49BC-AA11-607EEF6FEF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9DAC26E-195A-4194-888A-F48277DB06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1CE8321-D953-4053-9E95-703D67B38E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98032E1-A586-48A6-B169-D1F299E5F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F955D07-AFFA-49FD-B4CC-71A5F02591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C2C1883-B038-4C26-883A-5A0AB8A42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31C64DF-2882-4389-956E-2F0A1B3D1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9A3CDAA-522C-40B9-BEC6-5BCFF25D4C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67A539F-D209-4A5C-83CD-8A9629A066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1839C2C-D5B1-4696-A466-C5642BDC6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1FFF973-B5BB-4CB0-826F-583FAB8719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78B8395-2801-422D-BEB1-E2E71BB4B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6C0266B-A534-489C-B7D0-DD429C52D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C2CBF31-F41A-433A-9FAA-C1E2AC5369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E597564A-7D16-4CFE-B7D3-13E13EA29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59BE693-00E4-4F78-93C4-6132C719C8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EF9A000-3D29-458F-AC53-B42D9E585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5BB4F5E-19DE-4152-838B-FC351F6B0C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7959A3E-C0A7-4024-B7DD-0EB8D9F8A7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5FA8E2AD-D064-4270-97F1-1D99C201DE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8E0905B2-4D48-4AF3-9CCD-9F920A42BD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9E00C0F-5436-4869-810D-EBDA3DEC0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3A4BE3E-B0F2-45B2-98A9-DCA5B02CA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E40BE13-781C-4FE2-BC90-403244E63D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CB826E0-ECA1-4C2B-8701-D1304BC09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7F8B55C5-5782-4AC8-940A-C4BF47B326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69704A87-19AC-4B86-AE70-7C2891ABA0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58872FD6-DD03-4660-93DF-8C4E0D254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F96E77AC-F988-484A-A4AB-6A068F3C7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57ABAA1C-4EFB-4CF9-90AA-543D4D0EF4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05FAABE7-D3C2-4774-8F02-D2C8297BE9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CA0765-BA71-4B6F-84C5-313F60323E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2D263A-F4A1-4AB2-81EC-88194ADA7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ADAFD4-FB76-44A3-BBF7-EC10088931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2347DC-25EB-4168-B185-1440B58D1E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A71378-8CD6-488F-9E15-5ED0718A4A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D80DA5-E08F-4771-8B5A-EA02F9B99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530B33-0D90-42E8-A3C0-5EAD933204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520A54-AAB0-4C7B-AFCD-82E97FD2AE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13A4B48-AAF6-429E-9B68-FAEED9813C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C18478F-7BDF-4BC6-9E80-60F761C6A4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5C5D625-0E9F-4CB0-8C55-D3F76B4546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FDC5174-4D28-45B8-AECF-F2987F3FA0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18E0C40-6400-4C84-A6AB-65467092C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51235E4-344D-43E8-9D0F-4BB73B65C8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4CFA833-FE50-48C2-9060-D6F43537EC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8434916-12C4-4CFF-B124-3E17C5D7F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4D5747A-03BF-4108-948B-54023DC0E0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217D3DC-35F6-4EE1-90B2-470714F8B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212530C-2A38-4F7C-A08D-0053E6533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7696491-8026-4759-96CB-BAB4EF6F1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7BB38B8F-CE78-4822-A94F-C03C7E24E0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DE69E2C-9F88-49F3-ABE3-5B701514A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52D8A42E-47D4-4F1E-ACBD-3EB5075F8C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9C4EE1C-496F-4363-8B84-8A9D7356B0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124211B-A2E0-42F3-A71A-ADA1FC03AD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77D2155D-58B2-4A55-AC65-8BE03B5129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81515CA-A8CC-4522-8779-22D25D98A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32429D3A-BBC3-4B61-9913-79D97F79F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35FC7961-7415-4BB5-AF39-E47F80C96C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623677DE-4915-450C-8A1E-0C1E1D1A84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DDF74D42-81C8-40CC-9166-D32ED4F527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111F6EF3-1D21-4947-9008-C83308E4B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716B10-37AC-49DD-BB0E-BD0D7E12B7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117A6B-5A1E-433A-9F6A-A314587218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F33796-69DE-4B88-9F58-626ADAA99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6FDD26-0BB4-4473-8717-BFD812781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B700D0-CF84-48B8-8973-BF87B08A7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70372F-00AE-4BEB-AE53-4EBBABBBF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7EC436-076E-4985-A924-812018CC5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6D0211-9A07-40C5-9359-4E86B7CA24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8219AA4-5795-4566-9ECA-5748C9F7A0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5D3D4DA-E766-4FD5-94F6-FF5DC4177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2BCB121-7BBF-4D49-A200-3FC391757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0899467-6903-4D1E-A608-085C05F42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C276AF0-1BA4-4E14-8F3B-1B2B21CC4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5FFF599-13A8-4F52-B016-71605DDD2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8101D57-B407-4150-853B-BDD054AF6F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A8AD074-486E-4A68-8FE2-289ED4A204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2516EA5-6C00-4C44-9709-967568B96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07AD587-B13C-4DCA-B799-D41B160B9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548D61E-F26C-4012-A91F-2326086027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B641AEB-52C4-496E-98DD-A9164E920E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0B1B3FE-3CFC-43E4-8968-DB542CB75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EDF79BA-DE00-478D-832A-62C4A00014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88A4B17-FA81-499D-8D3E-0C667F311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4C577027-3B9E-425F-B822-7076975C8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6C6606-53EA-41E9-BF19-E210302871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796B58-1711-4718-A775-B7DDD393A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60F736-CFC4-440A-981E-08E8BC2B1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F3E763-C6E9-4382-AB5F-8B6160FE76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DABD57-DFA4-4C65-B92E-0FC42319A4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E210BA-DA21-46DD-AE8E-3A9A24E7C6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5466AC-82AE-41FF-A044-0C314F9CD0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F754DB-C1B4-46F9-850E-D2CB9086FF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72D77DA-135D-4098-9720-6BC7D29DE1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F6F8CAA-BE5B-4A7A-925A-3FD5528BA9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891D3A5-1067-4888-B7F4-56682B8A5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863B3F2-EB40-45C0-9556-BF47C429F8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7352B4E-402A-4356-B685-B2032A9B1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24B0471-EF35-4AC1-9720-927BF273C1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70AFB2A-2C7C-4F23-89A0-513847F836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980B061-1E24-4BE0-B95F-A9E5AC15C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B87DDB-6D4B-4C8D-BF5B-D60413E1DF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8B8E18-E721-4819-8968-B1EF3E0E8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49764B-A00A-4E7B-A2FF-4A98469D29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A53735-0088-4E69-BC8E-4AC973560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8B1088-6F22-416B-8983-8F4815E975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15E092-5DDD-40AA-8783-68A9FAC60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F73254-97E5-4878-9856-7AB9BC0C8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B4DE5D-8E16-4A88-931B-F5F6B45B72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452F408-29DD-4ABB-AF68-379591F781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F6CA4B0-093B-405D-8460-02B6A8C480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94A3149-22B4-4041-8964-36FBAF8962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13E05DD-E1F5-4718-B796-9A92483C19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8720922-1C04-4711-A84A-D4E8D277B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9DB063E-CAC2-4BF7-8DC1-115C53B198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D4A302B-B7BC-45A2-AEA5-A29B338F7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53655E95-5562-4459-A5C9-FBE0DF80F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62DA2D9-AD58-48D7-ACDA-4F76F068F9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5B95DF9-B99B-46BE-8DD1-631DFB5F9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EACA0B0-8287-4022-861C-F59BF5CF5D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2CBEFD2B-43BE-4DB7-8D68-317DE9EA28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4F57157A-2230-40CC-A287-DE128124A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A1421F3E-4F99-45EB-B843-98B567BD1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6E9270B2-D65E-46CD-960F-5F03301A58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466DE286-C01A-4897-85D8-6D2A5562B7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898A46-8478-4CF9-99DE-47AA1A01E4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3BD3FD-9524-42F6-82FF-8F76D452F8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B1DCC4-B7F9-4AC8-822E-7FB6BDD1A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BA6FB3-C2D2-439F-8005-A77A4ECF83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300005-9242-4D8F-B767-A85552EFB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422731-1A1C-40DC-9951-0A5C57FFEB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E71205-8FEE-4398-97D7-4E368111A6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706257-41A9-4322-9463-3A5D37439B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F24E5BE-4C7F-4613-8588-DD443414A9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F5D1CE5-1AE0-4611-B5D5-FBD3D1EC55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2A9BD34-9663-4A9E-8580-2F527858A9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C44FB27-EA5C-4171-BBF9-D28FA035D9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A304D81-856A-4EFD-AEFD-48BD6B191E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BEA0989-E932-4737-9757-FCE9C6D0D2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63C3319-D10D-4D16-B15C-35B49970A0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A97CDC0-BE00-4D24-8C87-87B6F0E39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E853C3F-1386-44D3-BB37-40F1CBAA2C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246B82F-DAC8-47F5-B905-80ABC751E0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5931A08-6872-4680-B8AE-23414A8A07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6D8625C-62DE-4E7F-9D7C-38D550C58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B7519D3-54F9-4B05-A6B5-97BE82BBFC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1C7AE06-BE6D-4163-AE8F-05D698E22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88D0C2A-F345-4F74-9EF3-D84BD2BDD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A6F51B3-73BD-47A2-875C-6EB9CDC83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46DCA34-C793-4E1D-B2F7-5A74E1C128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B698E7F-1E1D-4A1A-9CDD-86438B7F4B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99F9A1A4-5021-4C1B-9F48-C63602540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DDC244C-5D35-4514-90F3-92E750B793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A3EFD91D-9E13-4F84-98A0-17FD83AE6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A2040F98-2F73-4CFB-8E2F-0F634F555C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E547AFB5-C265-4559-8A3C-3A56C8C01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850834E3-F39D-4D04-9A11-0EB4DD4D5A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330EAA-A655-48F9-87A3-7F6E9C37FD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4D6622-05EE-4E7C-9D67-A875513545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48C803-2BE3-4A96-B3ED-7EACD7808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5EAE27-02BB-4862-B4A7-B351E1C43D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FB1869-FC05-43B9-89D8-10C96F3B56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B77D4B-27B5-4B3A-AE4D-B272A30016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17161C-72D8-46E0-9807-F7D9BE5A5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49DEFC-7A89-43D0-B2D3-301D3C266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752C9CB-F31C-44D8-AB11-39C8C1C0A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0F2AC5C-5C5B-4FF3-B073-611F3CB85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07FF6EA-AC98-421F-BCE2-9FDEF4700A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3A43E4B-0F37-4EDC-883F-C6FB0AB778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462D3DD-8A63-43AE-9190-3651FED87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B442A81-4A22-4732-9834-7A15FD86A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881CE47-4ED6-47B5-8D98-0220F8D0A2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26DD4C3-9A22-4AE7-9830-3209BB139B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57A020B-E57E-4D27-9782-63C14E6B6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B5D4DF6-FD26-41F6-9684-6906058AC2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CB95E26-2C3D-472F-9B82-4F09EDDD3B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EE7DC15-4C5D-40AB-A081-3B52005F6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D8D44C5-265B-416D-B010-9CDF21F036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0E623C3-39A6-485A-AB41-3D0C10AC9C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72B79AD-16B9-459A-966E-F6C30DFD0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5F107266-94B4-4C6D-9823-BA3D788519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0AE5BF-0B80-4315-B557-1633434DEF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E8009E-F58A-4A45-B840-80F348D1A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C9AF41-FF35-4471-AF77-DD3F07E21E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CA77B8-F792-44BF-B220-CCD98D09EA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EC2D9F-03E7-4A14-B712-B3DD56CECD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414F59-321D-46BA-93DB-B78446002A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DEBA98-7AE4-4D65-BE16-AFBA1AE5D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C8F2CB-45BE-42E0-A52A-C8B115BA6D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517ED54-908C-4505-B632-382797662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0E7CEBC-77A1-4426-A688-10615289C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EF4C20B-2E1D-48FC-8711-F8AE65CC6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70F218D-3299-4A8C-90C8-463F2830F8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80D6F12-FE6A-4DC2-83AB-95DE30F07D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12F4244-727C-44D2-9862-5665565364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3662A28-A283-4E21-9337-BDC700BCB0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75A17E5-3D74-4687-B353-C6D2E1F055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11633F8-F6E1-4767-B63B-5873768241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3D19C68-0C8F-4BE9-B0DC-4849587CF9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2A093D2-844A-4B7E-811C-FE260B3A9B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1DCAB4D-584D-43A0-A2B9-28A83F4183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74ABE52-44AE-428A-BAB5-BD1BF03FEB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743A1D9-05B8-4BA0-971B-33E1905FC1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EB5010A-AF2A-43D7-A62F-0732A82967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1A856B4-A217-4E72-B454-8A4889894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3561456-DE54-4E7A-B531-0D5E17A564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6300CB5-A1F5-4EFB-9662-FBBE80A38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E566D2A-7A85-4714-A66E-D8E47186C9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143E969-6447-4A80-BB39-AB8601849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CDE027A-2E07-4B78-8278-668E6A4F4A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89A395F-DD25-41B1-80D1-EC225FAE95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5100ADE-098C-491D-9E81-21B4B35A1B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524C51A3-6E8A-4FD7-BC4B-6D7AF15B20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E635FB4-B764-4ACE-8AD8-FA8DE1CD29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7E4FAAD-01FA-493D-A333-B24B47D44F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ABC77B1-1A27-423D-ACFE-812C58D7B7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26614311-2354-4F6D-B743-0774288495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3E0394A3-1905-4887-9322-0CD73C77BD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D6F74DC7-5408-4086-9054-63F528D2F8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06AF8094-033E-4CA4-99DB-16C68FF1BA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C67A8FB9-FBF6-4FF8-A657-CB1A732B1A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EE8371-88F9-4095-ACAE-439DAAC63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A3A1BC-3B10-4BA4-8834-DB30371B1F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52E597-25CA-4665-852D-6C73ED7457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5B267A-29CD-4A59-BC2E-B64C6B3BCE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5BBDD8-3CFB-4C5C-807D-8DF4C8059A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1C6F8A-DC6B-4E57-9812-3017E87849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63FB96-0183-4091-9DD9-57CF27056D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8B209E-572E-40F6-A111-073D86262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D59CE62-A871-41D9-B043-983F862764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35C369B-4A44-40D3-A32F-7D3F46D031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1790233-1780-474E-8A6F-A73FD2C138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7689588-737A-438C-A782-4F46A2CC98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040E712-7F8A-4CD4-9832-F8D102BF74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F0AF70B-D273-48D3-ABA0-FBEC7CDAEE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F95C428-D0B8-4938-82BF-214074900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1ECC64E-0CC4-42F4-B688-3DB12E8092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967D059-C353-4F43-B8A3-D80BE115A8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E0592E2-F3B1-412B-959C-ACEEBEB3A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3887120-1570-4035-AD71-77EAA2E756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A72F45C-2DD9-465A-8181-4EE99D465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A279814-BADD-4DD3-B249-00D2C39AA0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6F2F798-2DB3-4BF6-BA35-34C860E631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65FE1A9-2240-4B2A-82AD-AB7E0853E9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0E1500C-6567-4E02-9351-0585149309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3DB8B57-6F3D-4822-8DD3-7CB186C16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5220F4B-AFB4-4367-BB9C-09F0FD4A15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DC9022C-A42A-4241-827E-972A37982A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6243AEF7-3E91-4D35-BE2A-EE0FF12FA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F571EA30-2C6E-44AB-8529-AC7FF233B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EB85AABA-82E8-4B5C-930F-15D13908A4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557C1057-C7D3-4DC4-957E-A45C1E8788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F8A4798C-6211-4242-96C5-5ED040B45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103A7C-7F38-431E-99C5-1AF5FAF241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A49764-8BE9-4D17-BF6B-D6F57F36B5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D27E2C-E5D9-4F85-B037-E2C10E312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412CDB-C66E-4321-B58E-E5393F5D2B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A68CD8-901F-4A11-984F-1BCC8DC2B5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BEB6BC-6C49-428C-9279-0A677A8E7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827B2F-E321-410B-AC51-63DB253F0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B23BCE-A1F8-4062-949E-BD1D321C5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A21AE00-436F-470B-BD85-4FE132D52D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AFCAF62-68AE-4DA9-AEB3-630F58A21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7F0D961-ADB1-4033-8DDA-6713F7FE6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D3E118D-2C80-442D-9DD7-3A61D75B47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ECBE94F-E0F8-48BB-8247-994502100E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B827B3B-CD27-4A42-AD49-EEF17F7B7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1277689-BFDB-4739-BF52-2053BE7B42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88EEF2D-100A-4695-A96E-012F10157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B6CB3D6-24BE-4896-A30A-9116498B6B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C3B2680-D987-495A-9495-997AE113B6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FF93424-4BEB-460A-B590-A2586BFE73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C06AE1F-750B-4726-A84B-8A77A92EE2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F6E3544-F998-4497-B1C3-53188970E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F8C1679-6F8B-4ECB-8620-6E31E05330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D05EA970-8C3E-4948-980E-9B411FD6D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556F3B1-C37D-4411-9DB7-8F43E2B77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9634609-9EDC-43BE-972F-C53250F459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D162458-22A7-456C-8BDA-4E37BCAEC4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E5227A9-2384-4165-B65F-14D4309B4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1033E09-2A0B-485F-ADD8-5AFE111073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C3E37FAD-0CAF-48E7-88EA-BB53BF23C9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96241E1-2705-4115-8873-08CB8A516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250F6F5-BBDA-47FC-8FFD-F22A8962CB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18EEF803-DD89-4C4A-84C0-6E58E9DAF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AAA58E-D587-49C0-A73E-72A2F950BE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7FE052-BFD4-49E1-9EDD-DCC52F4B62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C287F1-F7AE-4C19-ACE5-08DCA3F57F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529C1E-4883-4375-A179-89FAA5296F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1CE92C-E34B-4572-9E87-D5D2D53079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222010-2C66-4841-BF9B-B717F94AC1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D101A1-C6C4-4C0E-9D0B-CB02FA925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D63415-8692-43E5-BEC7-BD20E4091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D16F75-A326-498D-87C8-BB82666F6C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2B284F-3FEC-4044-9583-91B7AF4D23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A3A8AE-7C3A-4A5D-B32B-D20234BD5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14FC46-8B6B-4D06-AFD7-0FAB00C5A8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4A6714-7C7E-4087-9DB1-EF814D19EE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9FF8D6-0DA0-42E6-A2D0-5A23663714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A291A7-EE4C-4760-B81A-88F552FD71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DBBFEB-C8C8-4320-BC0C-84252E57A9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ECAD1B-8083-499E-B93B-2D613E6B90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D2F5CD-04A2-4821-938D-5C4DBF7A2F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44FD7A-A853-442C-A84E-E46DF9FA79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9002C4-021C-4D9A-82FE-DBB45590D9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DAB34F-502E-42C7-81D9-2E46E3F572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1A1DFB-7BC7-4105-98D6-BFB738CE71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AFB1F4-76D4-494B-8A53-302594A4E8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2F5EB3-B082-4AB1-B5FF-03C7C4B3A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195640-D587-4667-8DAE-4457F7A0FA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51B622-3A7B-4C55-A1BB-3C25B97595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C4E899-3E3E-49AF-A827-162D98547D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814F91-2492-4CF9-9D6B-15B01C78AA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F89540-C18E-4A85-B745-6108129119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E2A728-3156-4ADF-8049-EC223932C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C97EC3-34D3-4590-B865-BED698F5B2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AAC56A-8173-49E8-9ACA-139E9EE6A3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D0C634-8EBE-468D-8D51-918434377D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D562B7-E7CB-41C3-AADA-E32299924C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B912B7-5BBB-4CB0-BA2E-6EF92B1C21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F0E8A0-A985-4847-8D16-7683BC9EC8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267C55-6DF9-4F39-BC4A-34DEEB4963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9FBAE9-DC02-4954-BD0E-39783DAB3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28AA9B-E740-4C02-B163-EC29848F6F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B43AE3-6DBB-4CCA-B8EA-5827353806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0FF6DE-1EEB-4D3C-AF68-F450A19EFD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BCF157-4663-4E83-9F95-36FCDDB066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2578E0-76FE-41DD-BB63-0E3A788DFC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1EB695-9D9E-4629-B105-E6D8172142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652A41-0CE4-4E28-BAC1-AFCA5F4C07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B5BF19-383C-4089-B571-9F9EF35DD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6989BB-B00F-47CD-92B8-DC9AF88B65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88F0CE-5B62-4D79-99DA-07FB8E99E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AF9ECE-9B54-4DFD-AD59-03CDF1D874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E79C7B-39F3-4235-AE30-886FBAAE4D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C59279-956A-4342-889A-0CED1EB589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184220-F059-4DD1-92B1-A4DFD0F13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CC799E-5116-4B1A-81A7-DC84BFC12C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035330-154C-4A0D-B3C0-299D40841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924057-E919-467D-B855-795F2BCDE3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BC7CFE-EA64-4C2F-8A07-B81456E59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BE7463-0D0B-4E4E-884B-0477DCB247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C18713-8FED-4D3B-92B9-B6A73B7B70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AB1368-DB69-4243-9683-851C88A1DE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33BA1F-0BAE-4729-9B9C-F25FCB46BD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E1BC82-C213-4F02-BDD1-A2C6C97412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6F1249-26BD-4BEE-BC49-AE3B717436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0CEBE4-770E-4561-AFA2-678A236A06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C0E3D4-0392-4944-9704-2A678FC02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2788FA-0393-4B10-B784-C88390C540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370872-9945-4A14-8685-81A9B4356B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F8D9AB-68C5-475A-BEDA-5CBD878273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CDDB88-967B-4FDD-8762-FAA4CD9B1D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8B49DB-17A3-4F57-BD1D-5324E11CFC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5AEC35-CC6E-4E8C-AAC2-6C5330671F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008FA7-C277-4DCC-BF06-698E506A9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C83264-6879-4CF9-80C4-F336ED1556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81C42F-FAEF-492F-B2ED-478F153496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29811B-6A59-4F91-AE75-598B402F9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1A35CE-5DD7-46EC-AE84-A70F56F997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C471C1-4FCE-48AD-BBBD-2ABB27A6AA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EBC5FB-C36C-4DED-AA5B-BC46940B62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FF397A-51E2-4D14-8650-23028AC267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3D79E0-447C-484E-84D2-F5ACB0A95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9CB690-E47A-4C6F-AB86-B00A4E1A32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088431-5556-4B25-9C54-174FE0D7B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8FF4B3-FC47-46C5-9691-8A54841EB9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EF1CA7-E967-452E-AFF0-5AD88D703B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F2EE8E-E0A5-4B89-9E3A-D3C10156B5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267744-0354-463D-A9DC-917443B7D3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C0680E-494D-4D6F-9801-DCB5352D57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67F4EF-D352-4733-9FDC-F5539D22BA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30B54B-4389-480F-AE4B-5C93E13114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9C2834-F97F-4BA5-8AC4-62802131F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398099-8019-4C6C-B4E3-8F9B95E1FE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9EA9B2-1555-4E11-B7F9-77BD145866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16DF5B-C812-49C7-8CF5-41FDDFCEAD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2BCD7A-C7F4-4959-A59F-CCB06E29D5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0F4F5F-E7F9-4577-931F-661297BCF2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6E1A42-E7F2-4D9B-9709-3ACCAB7120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812DD4-8D1D-419A-B1A0-AB04D1F9FA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0A9243-81AB-46D3-920B-DD1A7E56B4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14B243-4F60-4403-895C-9331CBC5C5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8B8189-0EE5-4EA5-B39F-C7EB6AC308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B86738-2536-4C1E-BBDC-DF8B73FB2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5DC5A2-0891-4518-B523-768C88C965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C0FFD3-2656-4F5D-B46F-3FD97BE901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232AB6-538D-4766-9A55-AB0DBB209C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D1EEC0-FD3E-4662-B3B8-B15CFB248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5CD4B4-227C-49DA-9B79-09F48444D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6F3662-DF83-48A5-B594-62EAC05CBB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CED1E2-BA5B-43C5-BDD2-2D3D40F971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82175C-C642-4B20-8F0F-840CA4CE57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20A93C-A0A9-493A-A2C4-C7CDA506F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CD9E086-7DEF-403D-9FD2-F06F0CA9A2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F751DE-05BC-4C46-824E-F149B9665C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F8661D-1C73-44A9-BF28-341E1E9DB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8B68E6-F7CB-4B05-AA0D-BB108B919D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801937-6AED-4C09-9715-C830810AE9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A8BB9E-5C91-406B-AB16-46A208E2F2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42A5CA-D071-4E86-9FCF-77CF1EF9AE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05C15E-F5E9-4473-B633-218875C0A3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C6D1C0-CC25-4726-8FAD-F83910A7A5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27E152-5FCA-4607-A8F3-E51C23EC14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26FEE3-5B8E-476A-9444-56ACBD78C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6DE4A5-DDE3-4110-AEFA-CED8659AB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8274F3-E743-4860-A290-1E24D91959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FA64E6-9674-451F-A079-C8C4D9F786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745AAF-9145-4955-8E79-660C98ECB8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7CA8B2-4A3E-4B29-AC51-23CB8DB903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1D15BD-8DCC-431E-AF49-44D320CBCE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8D3955-0281-4BF6-9B1D-1974DA1157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D620BB-7E45-4A82-A55E-836EA65B80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5F10CA-865B-4B9C-919B-227AE14B9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9D149E-F07F-4CB4-A9A8-73FEBE0EB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799BAC-19F2-40F6-BCA1-A6CE4510A3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4DA5E0-2DAF-4E75-80DD-A701C3E17F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61FD73-E9C1-4502-9D6B-64E0DFF1D4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8F308B-692D-42E5-9B42-6EEF1DBF3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DF6EA8-7EB0-4C8B-A185-8EC5D0593B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3C5A86-7396-48AB-8BAB-F23A66AFD5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338AB0-3EBD-4B7D-97C0-E2476FE144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A030E0-BE84-460D-8D1A-54882C0BB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8F72BC-493F-4EED-AD19-2621F633F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914C60-5DCF-49B9-A00B-041A0B91C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88A786-1D52-482A-A8F8-93BC9B0E20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97DC7C-AE6B-426F-98DB-72455551F9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140995-BF23-4848-AD12-CBAEA88B60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C998F9-BDF9-4FC5-A500-B2EEE2FC32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A023F4-610D-462F-B005-869002F38A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96E2BB-09E0-439E-A685-AE521931B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38FB43-9CD7-4E95-953D-B6B0CB6581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37429A-D7D8-4F10-9AF5-1D339F1F7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BA870F-1A23-4747-B127-1F3B274664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B4E96B-53AD-45CF-BBC9-6C8202B38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97BC02-3A96-4D7D-8747-F9AA996140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C9205D-7AE9-4AC1-8580-3BABAED89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9323FD-014D-48AD-85EE-04A7588E94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5BAFBC-ABA0-43C9-84EB-263D7AC186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D8A6ED-9BDF-4906-8098-3042438530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56616A-6613-42A5-83CA-CAEADF209B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9EC347-3CAA-4ED3-960F-AA18E827CB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EECCE5-A67A-4273-A6AC-B83210F52A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F7EDA7-FB49-4AD8-8347-81A6EEB135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EB3B11-4BE5-4A6C-96DD-CB06BBB2E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4B44D9-AFCF-481B-AEAE-E84E9DEBBF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4AEA92-2977-4474-A9C6-8BEE8694D2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8C1571-E54C-4D22-9F12-662B665B6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187880-8646-4351-AD91-81C23335A7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E7FB4E-F106-40CA-8C42-6296B40153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61BE3E-C943-4710-96D8-97DFA7D272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9382C2-EC6E-4FF9-B7AE-711FC453D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410762-A4BB-4CBB-BCBC-3208795CDE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9B6B3CD-4064-48DE-AFB7-D85067EB7B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2CC313B-B3F7-4E82-AE10-004E872A1E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B81E6CB-AC62-4F89-A4A1-C2CE77478F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883FEA6-06E2-4AE3-8760-082577430D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F3E874C-61C4-43B8-ACC5-FC7813986B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22043A0-A4A6-4AA2-8AD6-E5659A579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3441143-D51C-4F43-8DD5-7C5357B92B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1987F0D-3474-4C95-A886-013588CA7E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48F7ED-68C6-4713-AFB5-F11596F848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133942-24FB-4B53-9700-55D1C5C822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6F39A0-E4BD-4ECD-A7C0-5BA4926820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710B9F-1F46-439D-B65E-908E5F2F87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3EFAAA-0CA8-404F-B3EE-40B2055AC3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0E1642-F8F8-4702-B47D-B6E5ED46B7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6C4C43-256E-41DD-8C22-1925709D13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C037DC-B270-48BC-9A2C-A04CE5D3AC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A6D9CF-E4D2-4381-BCF7-892A345929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A26EBF-617F-4D16-8DF5-1D00CCFC14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72AE27-4CB2-4D2F-9605-FFB75CB2CC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555561-3962-4AB1-9C6A-CD63E6A530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188BB2-C9A1-40E6-B023-9CE35F6A18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BEAE51-362D-4651-B64F-E8BF0FEA47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D5FFCE-AFB0-4398-9F98-3A175542D9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861AC4-56C2-4BAE-8CB8-6CAF4DC018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CF19F5-C7E2-4CA6-B544-7A66E7B075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4D6C22-35A2-490B-8C1F-1D0BFA4650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37F0F8-508B-4BDE-A815-25AA49930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8C4BA3-7374-46CD-B1B7-01E390F3E3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2B063A-43D3-45C5-A482-95E4FC6C62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095BE4-18D4-4D49-A874-3500C9CD0E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1CA567-6E2F-47D2-8DCB-D38351291C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ECB427-52AF-4167-A05E-D81DAADB8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B35E72-0A41-498D-B3C7-04391BFB7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8E6CEA-3AD7-4D19-B272-2F59C9C637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727A23-8C18-4D04-9642-CF5C54F439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21FD40-CADA-4215-ACD2-9E3F78334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4D3B3C-D79C-4021-A018-BFBFF456C7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3ABE02-D0D3-432B-B42C-E74AC42A2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08B8A3-BD77-473C-A46F-FB24D8F92D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743073-DD31-4E1E-9322-748FE96097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52B069-E4BB-4E2D-A9E0-CC2A8AEDBB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22B976-70F8-445E-9E17-EFD8620AC1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67764E-DC57-4249-A5CF-EB3C7BE22A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2B7473-5007-4405-988C-5432686236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44E11A-CBCB-4269-875E-D446C6FD36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4107FC-DC52-406E-A45F-0C43FA0BB2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61647A-F0D9-4F23-BC8A-F728BDD0CF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6457DC-2D5A-4426-8BD1-DE3029F176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8B321C-D679-42D9-9D80-576DA8A062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CF0752-C3E3-4990-B433-3B9402581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0E164B-02CA-4DB7-8A80-30EDB8510C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B61FD1-6EFA-4210-9360-ECE832F349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CEA92E-BB94-4DE8-B7D3-3B0B0593C4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0EB718-E86E-4B3F-AD44-B8B6DFC9A1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076199-019C-4F60-BFC3-CE54F27D22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4BE91A-53F4-419E-9816-27453172F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6ED8DE-D214-470E-ACFE-9C502D866C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86E77E-254A-4C70-A611-F192A64989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C511A2-4C92-4E22-8CE7-A963BE35A2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F175BB-F592-40E4-912C-04E9CDA63E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28E5C5-7EA8-45FC-92C0-D3E9D8EB30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281A98-5791-4A1C-B466-5C2E513F89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DE9DBA-ABFC-47F6-AF9B-3E4EC79BB6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3A9232-602C-4A99-8359-AEA0FBB44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609C0A-E882-4AF5-9221-394C20F653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4201E2-03BE-49DE-BAED-819692FF26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E09DB7-762D-4391-BAA0-92784DC1AD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521683-7AE2-45BD-B0B8-2F1618A838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A724D6-DD91-4A23-B6E5-83660CF660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49EF88-E635-4208-AC58-8B6ADFB5B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F83F52-C32D-4C67-997E-8D22DDD759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832614-1FB2-43F8-8255-402C90F1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759E6F-88B5-44F9-8E31-1099B1309A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D01022-31EC-4352-A141-E8B2D6127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7E43D8-D809-4858-967A-5C78B3F3DB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503AB7-3B6A-4F7A-A977-FCBB072963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70E3AA-5865-4E38-837D-F47922410D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3A1825-9926-4C6A-9EF0-77D199DAE6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131409-F26F-417E-AB96-0FD9E97B54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2FB45D-E8EC-4BF9-8417-E7200150D3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659680-F2FC-4194-B5F4-51F06EF901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6B2220-1234-41EE-B19A-C70467751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4EF879-3715-45F8-AB88-B5EF983DB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09B58D-442D-4F0D-BE94-490A910C7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4D1CDC-6CD5-4BF5-93E7-A92319205F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15C004-08D7-4997-AC22-494DB47594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7F33DC-93D7-4DED-A74E-860F78B9D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7DAF0A-2527-4810-90EA-6BBC50067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C26689-7D95-499A-8F2A-F3B7A25C7A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082CDA-2EDD-4BCA-ABA6-A35FAE88E7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9938D7-5AA2-435B-BC62-4710299B5C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F58C75-9787-4CF7-8771-7C3DD8F638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5F2960-B3CF-4B14-A288-6CF8FAFC50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F64C65-3847-46AD-9463-0BAEA9660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07BE3A-9502-4AD7-AD45-E0DBAA7143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3E4BC0-20E2-4D79-9573-CB31D75E3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17CA18A-9EFD-49B8-AC96-872F1AD635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1A89387-FFF1-4EBB-93D6-521FEA670D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DE4CC3D-2399-4CF3-B646-90C282A45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0EC4E82-5AA5-4E15-BF9F-F00E651CCE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2FFDC77-F92D-4FFE-9B5D-262813721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408AD5FA-C98D-4C04-B56C-4A7CBFB634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1B77133-BB0A-4BF5-8992-6088FFC5F5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9FB17DB-0A2E-4941-8E40-8AF3F44BB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B1FDF6-E477-4BED-9C77-F54E77C8C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8FCA0C-BEC9-42E0-9E66-E25CE19A68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D53E6A-074B-4E49-8316-6FBBE6ECFD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BFC72B-6389-4807-A26F-357BA4C4F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0CF9B3-BCC6-42B9-B4EF-FB20781935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273A91-2505-4D4A-A018-ED895EAD0A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456651-155C-4018-B7BF-426B977C13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33D6A1-EA34-425D-824E-4F0863CAA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15076D-C856-4E97-8A43-2A93CB381C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6C6250-48C9-42D0-9694-9066BBADF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C809C1-E553-4834-9044-8363ACDE26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ADD83E-BE78-48C2-A875-E40D5C7033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2EAFD9-8754-4ACC-973F-B7718EA56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267692-F79B-4F8D-8848-649269348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35EEAF-C8A1-46C3-8A2D-CF13F088D9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6FC7F6-129E-4B3D-9EE1-8F375C1AC0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0467A9-5873-448D-8648-97EF73D8F6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51B800-B4E6-49FF-96E7-80D2DD81A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CE0FEC-CF4D-4DC8-B1AC-6F2ADE5954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AA8DA0-4AEB-4650-B98D-1692FDAE3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8A947D-DE05-417F-AB6A-FF527BE25A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8D874F-F328-4862-832C-66108022F6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CF6A37-0905-4138-8B43-FD54D12EE3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E64F1E-970A-4A7F-A0CF-6DEE157A81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E24F51-7323-4FC7-9D02-2D7EFF6559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F6FC7E-6EFF-4407-B6C8-80DC0187BD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B52CDB-33D5-4C80-A58D-58C8F43AA8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3E3BBC-F75E-4C26-9F6A-46C18AF642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C72D0D-36CD-4F50-BA29-1E0C7ABFF4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1B33BB-18C5-40DF-BF07-D7EA3BBA12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5383C7-909C-46AA-B4A3-80AE76422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3113BC-8CDE-4B43-89BA-6B96EC796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C279E7-5882-4124-801C-02E8E682FF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1C1B50-7305-42E5-94A2-B9DDBDEFE8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6F7E2F-EC8F-416F-88F1-CC531FF9C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7CBD65-CC9E-4AB6-9AD3-C5367EE0EB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2B8F75-41AD-4C24-8659-812F377A3F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ED9ED2-AF19-46A4-A2E0-33BD27D2FE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1110F5-F33F-48D2-AC75-1E1994ECD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7A1F47-E7BB-4A5D-B2ED-3088DE5AA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555570-CB0B-416B-B780-1C87B40282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6A28E7-3AC2-43C5-B7C9-FEF9C794E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73AB05-1B7A-4CBF-AD08-FB9E889EDE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158093-359F-482B-8C1B-56B01218C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11EC83-2154-40DD-A254-FF50BFEB9B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A73B54-1BA3-47F8-9DC2-BE9AB0EA92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2A5571-AD7C-4BED-9CDE-77C63A3048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C66805-FD39-471D-ACA3-1B3990C8F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4B3970-1505-490F-94A9-4AA0611C1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626E54-7C8E-4BC5-9952-2B106E7614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652253-8EF7-4D55-B492-CB1DCF4AB2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9B9040-AAEB-4E13-97F2-1DA2CBF10E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370879-9AD3-45E6-BF80-5E07AA7784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B5090F-9180-4589-AE92-C482DD24F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A92D12-CC74-4FB6-95BC-D0FD2045FD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973084-E719-45B6-8335-0D6CEDE656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305726-AFA3-430E-AE12-A6D69F8B93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40164C-0464-41D2-BED3-B8F27765AF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63C5B7-F5A8-4984-8CAA-871860DA33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C96C17-18A6-47D2-AFDC-F95E1EF1F5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A36401-71E0-4077-8A12-45C11A13C0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A39AD0-AAE8-467F-A427-425AA717CE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14334D-CC78-429C-A7BF-0D2AF77D4E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FE1793-FFA9-4A66-B23B-8253482856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B09867-D35C-4FAC-87C2-D7589C3101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C21850-A389-4CE2-B631-E3919D5D4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CAA184-D804-4F49-8C6D-C88BFD2DC9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6F7CB1-8595-452C-ACE2-7DC6632703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2B88BF-986A-411E-AEAA-CD63104F18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854AEE-F79F-4533-8B80-1C20578D90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A91DD2-4EC3-41D3-AD25-0434936DA3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3E3BCB-C917-4DD5-8169-E53FDE5249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44FA3C-03C6-4CA2-9F8A-06D635F9B9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9F2D51-A282-4277-B2F7-1A9211EF5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36ECD9-4ABF-4B10-B47E-C3E52BA7FF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96DE07-5A6A-491C-9F5A-736EB5C1ED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426C75-FA05-4A92-B535-7011BD4E07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D5039E-2527-4BDD-8979-AA37D0E57A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63EC94-1BD3-4A1A-ABC0-C2138B9F16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05BD51-FFE0-4A2A-9E37-33725BC004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F33EA8-F258-4C1F-8A94-86B7CD7E5E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4C8904-93E4-4D47-84BF-27463FDC68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9AE743-ACF5-4293-A27F-E51C55074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39A052-809E-40E4-BD70-0620EB5FE6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CDFB63-5C7B-48C5-B8B3-2270C5511F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C2696A-0807-4BBE-803F-2DFD79DF0B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C95C3A-FF9E-4A33-ABF2-AD26ABBB02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3E8BD1-6FC9-40C6-BC11-D1DAAB104C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EA9607-A1A8-4902-A167-8D817BC52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66B888-D74D-4F2D-A815-90EB3A7CEE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1A94B2-4E93-4C89-B8A2-A3D8F98706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ED8C9A-41EB-4D99-B937-296ABA703D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8272E5-8895-47CC-B518-19E5489C7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8CED8C-D2EB-429C-8180-8416052B4A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BEC9CA-DFED-4819-824E-F7B9EE5B97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F787AE-13E5-497C-AD8D-1B275DCA1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F056F1-7390-49E8-9A63-5CFD83D033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DCC11A-8726-4B80-92DD-F63383F29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69F2F3-55B6-4524-A8AD-1B67F5D999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76AF51-5DEA-41EB-BC68-99605164B3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139C05-BC6E-4402-9E98-389CEC1BDA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BE3613-BD85-426C-8F21-A2ADA6A3C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74D461-414F-45FB-A4BD-0F0D5C9BB0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40F1D5-1AFA-4293-8242-00A342853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E00FE8-7573-4DD4-A844-9A9272AB76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FDC1EC-067A-45E0-955F-6C5C9D644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8BF97B-EBE6-4AAB-AF93-834F83B7F9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7E0199-1000-46C4-8D93-6399A36865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469092-BDCF-45B2-8045-DD224B0B48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AB9E38-211A-4AE4-AB42-6E346C58EB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0EB584-F958-47BF-9D15-8AD8F3225E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5EDA9F-BE4E-449A-96E6-798DD79851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CC0ACA-9C22-42B7-96DA-51C1CDE628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8F6575-5E46-4CB7-B863-2E6BA0D675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B5F79A-2BB8-4768-91FF-824655A548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F4AF11-AD57-400D-A93C-BCA51A1931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B7A629-57DC-4086-B6EA-7B1AED6CDF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005722-8518-46D2-ABCD-1A746B1A8D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E3C19F-AFCD-44CB-B2B7-183D9CCD48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2BF38C-A945-4338-8696-80A4D2D268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36C893-7257-4B84-924C-27FF12CFD1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89CD9E-16F8-4C9E-985C-2AD104ED57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4A8423-70E6-4701-AA86-8CB15093D8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6699F6-452C-4171-916B-B21C3B99C2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C41F53-A590-4400-93FD-7D5EDB5A5B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8306E3-D0FE-46EB-827B-411C781B96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373D2B-4788-4E1C-AF50-17F3343AB3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0C3D23-BB9D-4CA0-9260-D8E51B0B09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28771E-0CDD-4151-A455-C899599E7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55E062-9765-4A72-8E72-D736174A64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A20AF5-F245-4603-910E-42FDEDFAB1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1715E9-549C-4A4B-A407-8F09AF4448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A1293B-5508-4954-BE9E-90D888494A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74CF63-BE8A-488D-B9C7-23A8F509E4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714DA1-853A-4DF2-A7F3-41FA1C1BBA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48F377-81C4-4F26-845B-8EBC2A388E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767DF4-678F-4D50-B75D-6CDCFD346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AF1B31-EE63-4B1A-BF5E-4B392497E5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32A614-B9AF-4AD7-B13F-F7E9941E9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D1E716-8EDE-4E07-9782-D83D5AD393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C2516F-0F95-401D-88A0-3A4639F651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3809B7-4F0F-4688-8E5E-D9BE17D6F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FC5B02-4BD0-4B90-B1FE-A40C5D9A8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846D41-9B04-4104-83DD-B08CD78AD0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0F5E1A-9CEB-427E-A094-65F7A7092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120327-0660-4026-9061-B7EA8C0AD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235A4E-733E-4D12-BA7E-EDAEA67A76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FA5778-1DBE-4769-B225-FA3F250E98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23AA22-A252-433A-A640-9DEBFADE7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ACB36D-5A6D-4619-9415-33A3F24AE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AA28E4-EC3F-4B30-9AC9-5A20B326EF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013C38-0F6A-4B52-8CB1-B3C2860BBB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DBAD9F-3468-40CA-82F3-6017C6AFA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F1D6E8-200A-4C32-B88A-D27466E68E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95F11B-60B6-4978-93F9-EA75D4A59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5EE892-090D-4A7A-A4B3-FFD3B17DDC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2D073B-CFBE-479E-8DE2-DC056722D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D61A4E-033E-4D40-A8A8-A597756E7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9A8A53-9790-4F58-AEFD-5BF4B7B071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FD4D83-9EDD-47AF-A4F8-E157E033B4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D9E83F-4A44-427D-834D-9B6670146C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F8524C-5959-4207-B10E-0CEED1A494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6E7817-C204-4ADC-A843-0B2B0AD19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1491DC-C197-4355-BCEA-5A87368EF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399CC9-C763-408B-B2C9-E15978091E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D967D4-F9E6-4183-90C9-90DD155E1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4C3208-04BF-4F62-8C42-95155BD4AF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44137B-183F-404E-946B-E8F5C427A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49F10F5-6D90-4F04-B453-A6FC1499D2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CBB5393-CFB3-409B-9787-655CC6A8B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7D60539-0C1F-4CB8-946D-C9A9198C84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79326C4-B937-4E23-BB82-4BCC9A92F5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6124E90-10AB-45A8-B503-228AFCB1D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EFB1C42-C335-41A9-94AE-63BCE55B5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C293F52-4120-4E8C-A938-2AF8010B6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CA1DE65-A22C-403A-ACB5-6F4B3B652B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099E60-F14B-4973-9AB7-98317060CC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38F264-A8AF-480D-B226-616C21F51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CFE1EC-C4CD-4DDD-9AF8-FF5A4F82CA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050912-A3F6-45ED-A6EA-8DF3128109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09D204-19EC-49DC-9123-5254F8C824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EF2C64-19B1-4BCD-AA06-D2F7BE9ACD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A55CE5-639F-4795-9DA1-1BDA14B2BE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EC1308-8E89-4C55-8F46-E57C48DA4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067DCB-719D-4FFC-9F24-F26E39E042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F9D402-7ABC-4ADC-813D-3FA58B4FD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045E20-8782-4E33-9C68-EAD74F18E7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4670A5-6960-4351-8C09-DBD0B8DA2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7E4526-C535-4CBF-B1BB-BB6826DA1A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50BDEA-0940-42BD-BEDA-8EB89E27F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5DF4C6-AD1F-4EF8-91DA-E7ACF9498B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6DA21F-D715-4345-AD99-F6902CBE8E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6E140F-432A-47BE-89FB-63056B158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090717-5888-457F-8F0B-8E0F96F0F9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D0CCD7-49EA-4960-8617-F45B8AD294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CCAF94-A082-4BA3-83AD-0D3B3FD644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36E04F-D856-46A5-ACD6-932268EF80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DEF74B-E303-4388-A496-51A2BF15D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EE3675-41F4-47CC-8291-EDCF5A6AC5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8E0FDD-98EC-4404-B891-15606ADF3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54CE0D-3D2D-403D-9974-C2583AE37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EA97B9-FCD6-4E08-834D-D3C282C028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27C5ED-583E-4B4B-9352-F0F1C1289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AFDEA5-CF35-4830-AC57-A8C83BA59C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7BE3FB-3B16-4492-B647-5B5110A364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3881D5-95B2-45F8-91CF-CC6B4855E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B38BD2-AF5C-4660-9676-6C93E48B47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57F106-82A3-4877-9E70-B0266FD86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FE0EA8-8BAE-434F-9A80-9E60E94126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537630-F17B-483A-8C4D-E0EB677528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81DB6C-529C-44C8-B232-86C9FD10C3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C5D85F-804B-4328-9E39-6B5B230199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9304B4-F35C-41D1-B1EF-14DE647288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0776FC-E816-40A8-9516-618F19FCA1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426690-DA07-4866-976B-BA5425BED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23C531-3127-4F7B-8262-CD811FD28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3233C5-F3A7-4751-AF67-9C84963BF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39FD22-17DE-4850-94E6-F06D5183D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F26AC9-DE4D-483F-9CDD-6D3600E1B3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601F6C-BA59-461A-8544-3DE4A491DF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A9CEC1-429A-4FE1-A7F8-CDE5905E5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43814E-E919-48EC-B83B-ADDB911E10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FD0FD4-648C-4537-AFE6-0EED9B1A5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49F9AF-6723-4A6C-A8C4-A359A2815F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DC1064-A319-4CAE-9222-056438B5B9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4E6E1C-6579-4ADA-9D2F-285F10D442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2791CD-49AD-4CC1-A00F-3DB19F1A93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741109-2AA4-4FE8-BADD-FA219A1801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94CE50-1C77-4DE8-9283-821AAB895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B159E6-8645-48F4-8BC1-A5C1B646E4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F10C03-7D6D-4463-864C-FCD124A3AF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530B6A-489F-4F60-81CA-88665790CF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4BA4C6-10D5-4528-9286-DC7E9C8FEB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23F07D-92AA-4DE2-9E76-00C9C0BC0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A5FA02-D562-476D-A139-88338AF6A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3F56DB-543C-4C4A-8B33-A27538FDD9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CE836E-D6E2-4110-8407-98DD43ED6A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4C9A5D-295A-4433-BE67-E586E3FDB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A2CA03-D0AF-4366-8D75-82D5E950E5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B625C1-18FF-4E62-8B87-863B0BDC81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4E0042-4550-4449-8EB2-83F22007FB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0857F2-C4AD-4DB4-A613-E61D0D38B6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72226A-C3D5-45A0-AEFB-6F2F5E32DE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2E19B0-4A11-48A1-A598-A0FFCADEC4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93A6E4-C1AA-43D1-B5A8-6D8E5B000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2910FA-9888-49B3-AE88-D9EB14BCC6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B47CB0-1B85-4455-B36B-3C39AADC9E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5E21A7-5F21-4456-BD08-124BC84BB4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307E91-B788-41B6-B84C-C59603E41E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FA9B56-C860-465D-AEE2-19D80FDDCD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D194C1-A7C8-4716-9820-B67EBF8B87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EBA1E0-4770-4B45-BE41-06E2ACE555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9FF256-0EA2-4861-88B0-F246AF6278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D94BFC-AA53-4EE9-B0B8-ADFE13CFF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A45BD6-8E78-4750-9F07-9E65B59E7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8E8DF5-0C4B-4F90-A108-895C731742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730F250-6C16-4140-A50B-098AD2972B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7D371AB-BC67-4D4D-B83C-E617B31240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8DE2441-B511-47F6-8AB8-991B12901D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018CFC9-BEEB-44D0-8510-35616EEDA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DAFB6C4-C5B5-487E-9019-7C82CA1AC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2D28C28-FEFE-47F6-95B2-19D035E46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2382E7A-D07C-4745-90D8-C284AA76C3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9516FBE-BE84-466E-9F64-895B89845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497F20-266D-481D-95FB-EB7661C884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156795-BA12-4AE0-AADC-D3474FD417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A5EE87-A5FE-474D-9A14-FAFD783EBD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81DE1B-A6C2-41B1-9D09-D52D0B1B6D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CB9FC2-31A4-4BB7-B692-022C5A2E6A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143AFB-70D4-4A7E-94E3-A3AFC9FD47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2B1EF9-5BBF-42DC-8389-F25130AA4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8D8DEF-49A7-4149-A0E3-B9AD3E9290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B0B1F1-63DA-4939-8AC8-0FE0AE612C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7A1968-A226-469C-8C64-2ECE8B067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2A227C-2263-498B-8DE6-A83596A5CF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E63418-591C-4ACF-B028-4790C1B862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5FD961-69F8-4706-A440-CBD8A2E25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FED8CC-27A3-48D2-B785-15BC86038D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701460-D8D0-4304-9669-08D90E88A9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D19345-9678-4305-BD3C-73C062E561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38DF9C-C5B3-4893-B47E-237423A45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6C6F51-FD6C-4CE6-A4C3-42A9EC38D2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FF9600-D08D-478D-93E1-6A84F5BF09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E9ED21-ABBD-4CD6-809B-04649FE8C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5F806C-BD63-4934-A9ED-CB12B1ABF9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E24303-9E20-4CE7-952F-5B8E4E334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CC379B-95D7-4410-B6EF-BA1101531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8945B1-8EF3-49A9-949F-12D3913CD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AE326E-F853-47C9-B396-588215CAB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09B37B-5B87-4A51-836C-0EAAD2731C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0B9767-3B37-4120-869F-ACED0859D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F6ACCE-23FE-47C1-87EA-B9E895E589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344544-5940-4BCE-8680-975625D5B8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8009AE-D675-4708-A125-4D14B712B9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D055B9-8E19-4A5F-B0BA-D8F508A33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91DC7C-BEB6-4AC9-8B57-D450A40E2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6D8DE5-C4E2-4ED3-8433-FE8A30FD7C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1BC3D7-8D45-42F3-AD98-3359F05AFE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810907-65E5-41A3-8F9D-C78D156769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A5A656-6428-4C53-A961-096CB67B77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610232-FE01-4E7F-9FD4-437D80EEC4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1ADBE5-968A-4D08-A511-B84ADCD0C4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3EFF19-D79A-4492-9E33-DBF73A747C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C51E6E-6806-4B4E-80D2-4E2579FB54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6519F2-846F-4E89-82A2-9C53B6B254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F6A1E8-BADD-4BC1-A548-67034B9B09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D74DC1-2699-4924-9B78-C9364D798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2F1393-F38F-438C-A09D-F3642ABE2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17591E-C602-409D-A514-49F4D1ADF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E617D8-05EF-49A8-952D-6A880A7568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BEA917-2BE1-409C-B8A6-DD7C0040DF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393EFD-B393-4C3B-94B1-B86220CCA9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892088-63B1-4AB6-A66D-FFFC0DABAB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9D676F-EECC-4ACB-8580-0C40BB2548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D37E92-E88E-4A9C-95E9-2CAFA7C115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154A28-5043-4FED-84FE-6E6455FEF5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996307-CE08-4AAF-A12B-51B2A6B68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F63F7D-41CC-4914-A4C2-39453CF79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CE3CC4-05D2-4C97-B1B0-91F45C5744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7A78AA-FBE4-4D0D-A5DC-B0D4FC750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517329-596B-4E6E-B789-A01FEA72D7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4C6D00-F4C8-482B-B784-001E08578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B34AB4-D636-404C-9E89-18A9D3146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BD5FEC-6CEB-4E90-A44E-45FC2B949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7A40F4-02B7-4068-AE98-3E6318E1B7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07DAD9-9A16-4E6C-B911-920A73D919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0B6C36-0AFF-4AF4-9219-10A19ECE96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A74CA3-2F2C-406A-B875-DFEB188842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5BACD5-6B60-4CC6-A79A-2DBF0318D0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EDCBAD-AD54-4EB4-9B6B-D04A334711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A546E2-32B7-47BD-93C9-B6FCB9D2E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DD865F-1E29-42F0-A414-9597543600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9898BF-FEDE-436A-AD4E-FF82B07E09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397780-36E5-4B0F-A793-380FE5D7F4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DEC875-568D-4E0F-90CF-789752D707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BE7FDD-FB76-488F-9708-851204E39F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F86132-8F60-4208-A77F-009989AAE1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D300CD-D0A8-4DD8-829C-977DDD895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5B1E65-B323-4FAB-8EC8-2DBAD8CD45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9379CC-8F64-4BF5-B3DE-3A787A44A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B3F2DD-0663-4996-80F7-4438E8DE74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19A99E-AA43-4B92-83EC-A5A7B1BE5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8067BA-98B7-4593-9472-112E785D3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556B73-DBA9-4BEF-B3B8-102ACA032F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D9AB70-6BFE-4451-86BB-24FFA4EAC7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E27AA5-5BAC-435B-BDC7-1921919BA8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ACC00F-D3A5-4B55-96DA-B99DC41D5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67EA30-4C48-41A8-A890-BD19E2833B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430E5C-0A86-499E-B1FA-4850175EF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68F679-E227-42D6-889C-95BFD5896B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EEA513-8EA6-4FE0-8EFA-D0329873EA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D6170B-2965-4E3C-849F-814A7D051D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C2C2E5-A8F6-409B-A70A-F50D344EB5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A084B7-6F95-4FB3-9CE4-C29516558B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7F8F5F-1A23-4A06-AAEF-DB5A1D29F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5A0F5E-2DCE-4721-ADBC-F16F3E18BC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8B7A5C-C885-45FC-81AE-346048179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9555D0-34B7-4634-8D65-39E1B245F4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90C3E8-0106-4C95-8BCA-FA954DE05B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E0A2FC-7D17-4EF7-B873-D15C49D52E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23C0A6-71D4-4C28-A0DF-F8DB2EF71A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FC3F48-4D13-4B05-843A-E9E3D544ED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A6FBF8-6312-43E5-A800-00060BD78D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8E1655-3BBB-4331-8D2D-36E07CC196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BE9E19-1E0B-4A16-AD35-BBB8761AE7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945F1D-F29C-4DBC-A463-8F3B6411F0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288C2C-7F59-4E42-92A2-9B27B0DF1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357E54-D20F-491C-822D-B2A05725EE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EC9C4F-91AF-4BFE-87AC-3E0A92335B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CF8C4D-2916-4EDB-A042-E0872EE713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D2EC41-95DA-4C27-BBA2-F5F4C838DB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1F0575-E19D-4E8D-8000-27A36AC309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9A1F57-C3D3-4D49-AFDE-DC58432D1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E4771F-4984-4869-A7F6-67DBD4A470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4C91E6-C2F2-4BAF-A9A1-0350CC961A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CBDB10-8DC7-4BE7-8D7E-084B015E58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FAB0A5-5F08-469D-8A5A-AB3A3643E8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D79F36-3EE4-4E11-B3A1-A2809338B4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752D49-4257-48C6-AD3C-331FE6B8CE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92579F-A57F-462F-8C2F-ED10E25C9A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B7A3A5-A765-4E04-9A64-770F60546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78C2ED-D90C-4055-9677-F405F217A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55FCEE-BF6A-4F7A-AF6F-CED1658BD1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974119-15F1-4589-A3D4-9948266B6A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D27BD9-9E03-462E-B08A-6328804426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F929EA-AD37-489A-83C9-4749F7B465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9FDB43-87DC-443C-8908-96541ADE3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2A9470-E045-4256-AC2C-6E3501092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9B06BB-920D-463F-9071-FBBD9ACB1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F3ABB3-6B8C-4046-B535-5A271D9B0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85C5E4-C90C-4E63-866B-A6EA29B0E0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EF800F-D738-4660-9D94-2EE743406B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E9EA18-AD6D-4FF0-BD4C-38D34451C1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DBA319-F9AE-480D-B161-3DBFA2BDB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5275BC-5258-4D6D-80F9-F251D193DE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E40602-512C-4D75-B82E-E8C990A7A5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4E8843-DA63-4982-9407-EBAB89E614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E7ED70-3654-4B40-86E3-11ACC02788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54453A-FD7D-4E23-9C20-B14C6017E0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43E0A3-CD3B-416E-80B7-96427CF548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8B4FD0-C69A-44AE-941E-8C360721D0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551BDD-B279-43B7-AC9A-A0750A1748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CF8BC3-4C06-4A13-96B3-1ADE8908FC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FDD855-ECD8-494E-9290-424D92A25E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ADBD01-0C0F-4360-BF6A-9BAC8185D2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D9883A-A1EA-4BD6-A05E-076AB5D93D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B02625-95D2-4FFA-9347-8398B45426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8B57B1-E753-4298-94C6-5BBE434A48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1CFF26-FA6A-4D4F-9449-15F02BFDC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D223F8-DD88-4DEF-B1BA-BD6AF9DC2E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2C899E-0BB3-4C4E-B264-A9747764A6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7DAFDD-CDB0-4EAD-8D90-B7CDBAC9AA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924394-5143-485D-BE14-5D61D4EA28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A2B58D-97DA-4475-8EF5-0CE607B0FB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CBDA42-BAEA-4C2C-98ED-B3B2CA2553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D9EA6A-BAAE-4318-A4C1-3EABAAAA95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A51EBB-1B38-4F11-9A71-1AE1843901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B452CB-E48E-465A-99FB-D37A55235A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E4C5AC-7E18-4970-BA29-5AE1160A09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B08D2B-6837-4F17-BCE6-46B7464990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0860F9-5CF3-4B37-A142-3237A7964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E8BAF3-16BA-4432-A9A8-C44250CEC3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83C6D3-6463-4D73-92DD-CC12C4D856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6E5D2F-DDD2-49E0-AAA5-4CB70C2B2D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1E496F-16DB-4114-9D00-1F53E69EBB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47D5DB-2983-434D-80EC-64AABF59BA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0300ED-3E19-44AB-97AA-2602014953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88CCE3-BB87-4573-9B4C-BB7D1C7933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4CF800-53F0-4F8C-A078-ECAA171D48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C4506C-2CFD-4383-90A4-A7D5AFEE88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BEB741-538E-4A2F-B491-F35382F88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20E785-31EB-4B55-A7CA-2C2B0E37C1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8A3CBFC-41C9-4949-A78C-A7124751B7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81D47F1-9BB0-4C07-9AE4-1317011D44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0C85755-2224-44BE-9599-3A4667B8D4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F60B44E-13A0-42DC-9CD4-6212B3208C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E6EC5D5-55AA-4915-B59B-8AFB335FDD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D33E1AA-6CDE-4077-A574-290CF499A6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7FFD6D2-2830-4050-9D15-7F621A489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09C37D4-E517-4C08-B215-5C3BDD2171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85A92F-836B-4E87-8294-5594463B74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57E50B-807A-4BC2-982F-65AFA31EEE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1DD42E-D60E-42E6-9B40-6B68C13F60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017667-D9E4-4752-B859-DFDE65180E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7EB88F-5DC0-4C49-A584-8578676CA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1503E4-9E11-4DF7-ADDA-FF640E72BA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D75230-52B2-4A0C-8445-BAEC5B57CE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549A6C-C30E-40A0-9739-3258B6D311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B3947F-83E8-43BB-824B-594D2DB69C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7F524F-370A-4695-92A3-BAFD49B692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0B8227-634F-4AE1-A53E-2DAC2A0675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122610-F3AD-4258-A4D2-7CFE93F7B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E8EE83-C5F5-486C-906F-583BA1495C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D1A19A-A14C-4A5B-B13D-C9216C056B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B270E4-1146-479D-AA69-D810D1CA2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D5D6D2-7F8E-4FB2-932C-C83EEDDC91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79E59A-BEB9-4CB3-98B7-11EDD756E0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AEDED2-384D-44CA-80FE-846C40791F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5BBD6B-B3A3-4709-BF32-D3B8D6A8BB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64A411-3E86-4597-9333-FA64F8AF90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90BD9E-3D99-4AF7-ACB0-B38FAD641F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7F32A7-0344-48D8-A7ED-C4AB958176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0497D6-2482-4E40-86C8-CCE3DD56F8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0819BD-258C-4DC4-B301-2F3CEEE435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6840DD-81AD-4B6E-88EC-65B75A5B74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7B47FB-B911-4D7C-B22D-6BA620404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3782DB-C727-49BC-954C-F5E13350CF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E24D7E-56D1-40C9-A399-C0668F64B5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8673E4-D7B7-44D4-BA18-B91E0C5810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3E0997-7618-4BF2-999E-24243FF1C1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177D91-11EC-4931-9B0E-2B6416B4C3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CB38CB-3404-4BDD-86E0-3F56DB6224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A79451-C55F-436C-9680-C31D21523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D0C62C-27F2-46F0-892F-2864325575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4F93B0-D61E-4C5B-933E-B365C68D3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6FB285-2CF9-4557-B415-3BF42CC42F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73BB38-BAD1-46F7-886E-0C7E3DE9FA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E70BFC-C4BA-428B-86A9-69C9546BD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3358C7-B2BC-4855-A2A6-145A3D3EE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29138A-6732-4EBF-81E2-EDAF5F27E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432BEA-BEBD-4E81-879D-574E73DF83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DC2719-98F2-4DF2-ABEA-1FA2324706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1A2261-AA36-4ADA-A71C-C0C72ECD59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70325D-03AA-4931-A861-D2ABDE1B7A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21855D-1EE3-4AA3-9CC3-23A888BA1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334900-17EE-420F-BF41-39C5AB495B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04802C-EC15-4902-8617-5989FCB406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B67F3E-3DDF-4151-B427-B3C762A6B6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D9F03D-6CC6-43FE-8ACB-A525BDFAE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0D1C61-F8F4-472D-9DD8-EF46C8C769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42E8FB-14F1-4468-8108-329EE8DA1B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486EBB-9620-4415-9C5F-292A9B32FB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B242E9-64EA-4BA5-A34E-712CFCA029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ACFE7A-755F-49BF-92DC-7831FD00D3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5A718D-DFAC-48AD-8C99-E4861B376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44E87F-83FB-4E3F-B944-780BF4F95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9DA963-E6CD-4301-90F4-4AAB580EB6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66DE25-CFF7-43D0-AD3F-9621FF231B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DDC312-3474-4D4B-9A49-42F81FE019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820557-1E78-455D-819D-6DA60CD07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A0D5A4-FD37-4802-BB62-1AE543627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5F9B9C-F184-42BC-A2A6-981D4C9004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CCA5F5-01D9-4189-B53A-BBFEECEBB9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CEDB04-2AC6-429F-B587-C41E6E0CED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C472ED-D481-4B61-9D99-B065E5F10C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4B0C9B-54CF-447F-B295-ED4AA39FEA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73334D-9F82-413C-AEA9-4E5F9AF082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22C1F0-FF98-474B-90B6-B30188F6B0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4E6543-32CB-4E25-B16A-E36CB9A6EF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E0CE92-1273-46E2-8791-FC37708384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564933-743E-459E-98AF-EB1CEB2250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936408-03D4-4123-A54C-B3F7CE660B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95BB1D-4EFB-4358-BAB6-AD5CF43D2C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A92BD8-A6B5-4716-9821-7E7D21E149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94C380-E45E-4C65-94CA-33214D6F6D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DEB0C6-C0B5-41A0-A550-B205C19C57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569F52-3F01-4458-86A2-57464E006A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FC5499-7170-4776-8BEB-D3FC46E09C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87A61B-C3BF-4EFA-B3BB-E29A806C50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762A50-CD2B-4FCB-B2C9-8E9E00CAD7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18C5C85-DD3C-408A-A55A-EB5DD5B4BB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05AF407-5FFC-42D9-9189-A4EAA0BD3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F4AE137-7DAE-4036-B1B4-9CD36C4D1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5CB21BC-037A-443B-9989-692C832FBA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A338F7F-378C-4D71-9316-2FC91C262D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DD8E06D-2065-49C5-81BB-CF626FE948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644C0A7-1A4A-4A26-9F63-9CA6881BD3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CBF5ABFC-70DE-4DC8-8567-7D3D347D5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07DA1C-75E7-42EB-BA3E-25A8FE09F4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831651-F4F3-4B00-A9DF-45C3551B5E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F7F890-559C-43EC-868C-AAB9601FD8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35C91A-9F77-49A2-9F45-1A320E0609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9C4CAB-488A-41FB-B45D-9EF5F0D883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974ED5-BCDC-475D-A40F-7DD287CC10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D989963-B549-41BF-8D2C-A18CA8A4F2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F0CA45-024A-4B01-8D8C-F4DEEB56BB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6F3328-6A1B-4FD2-BCDA-64616C5F9D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BA0068-385B-401F-8584-4A7F7611FA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363B54-93AA-413E-9E70-6D517E29FA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8B6D5B-D033-46FA-9045-EFBB65C641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A4B2D4-F13C-402D-8DD5-67D38BED7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96C66D-ACFD-46F2-8686-478D866C4A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74A850-12BF-4DB7-956A-AB7D972D6E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36771B-61B0-440F-90A5-29C486AA7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AD990E-4453-4A23-BF35-304E54CCB5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35CD07-9F04-44A8-931C-599AF68DDF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11AE09-887A-4E6F-B87A-AA6E7631CE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32E2FF-E928-4DE5-9A16-1A65F4B005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D93864-1370-4B1F-84B6-FD653792E3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05A4FD-D665-4AFE-8683-74B924DE07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7C2850-E60A-4FD7-BB18-C1868602D4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778130-DA82-481C-817F-313B71B82E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4D70AF-DB42-4015-AAC8-CA6274540E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D98B2E-EC97-4CDC-98D4-7C92559DB4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7E1AB4-C61C-4543-A0B3-C970FC3BDF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7A03A2-6D73-4731-8A01-74FB22B1EF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A8004B-407C-4F61-9D1E-544C21001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22A728-8CA3-4113-8FCA-0E8B38388B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6F7569-426C-49EE-8139-B7B14ADB6A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E91068-AA1F-4F62-8F91-BF7BD3EB9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BC8C0F-7F92-4C72-9C44-9B0F426ED6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9DD492-4910-4F00-A5F9-89375F7E33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E1AAF5-3FAD-427D-AA65-D3A56E4B74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5936F8-67F0-41A6-BF17-9CC96A6B3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C36043-578B-413D-A74A-846F2E0BD5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821293-7E0A-41BA-8C6C-27A8D8BDC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A507BE-BAB2-4E34-B672-236D63120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2DAFAC-D84D-4B29-A906-5D9BB87B5B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6AB987-5DF3-40E3-B877-3B40C24A60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C03938-5C22-44C3-BD71-BA4BA5202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394D52-50B2-4088-9FD9-740B0D84B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B8BD81-61C9-4FC2-93BB-C6C68F3B4A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536F17-7159-4F92-938B-F35C408EF1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FE95D9-8F38-4934-B6B6-17C1429E5F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9BBBFC-9E2B-4309-BD2C-1A639FFD6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CCA050-A41B-4062-80D8-A18E9CDE6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4A7A20-62EC-4E48-835B-CAC0C2B9E3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3A671F-9AD7-42FA-BF2F-C4AD7EF46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6A5B18-EEFB-4D56-BF30-B4B6D036EB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C0643A-16A2-4E2D-8CC9-22C05A6FE0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CEA070-BCCE-47AC-9AF9-4A3B8DE81E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EE11FD-B013-462A-8184-7640D2EF01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BA6DA0-DFAE-47D6-9A06-2A43E0D8A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37E881-6BB1-464A-899A-02A0527EA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AF4C87-A4CE-4B1E-A3C7-4A43A8027F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EC08AD-EBC2-4E9E-BAB3-8C39F43C5E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A6E9FA-E399-47B1-BADC-B593104DB5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76C05A-75A1-4F76-A4F5-E82A00F78A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C3CF71-0049-4B2C-94B4-0858A7E9F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554665-76E5-4D2C-A9FA-8524401F82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F4BF33-B0D3-4692-9C71-D0E8FC9C87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1BA6CB-2B1E-4029-A528-B16A86D36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B30384-B434-4292-A6FC-0B19AD9B0A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1C8B58-9824-4A36-AF1B-CCBC360F7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295589-406D-4E34-AA5D-08880ACD49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188390-831A-4C28-B884-7E4DD8F28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23C2F2-CD18-47CD-A3B8-F9FF0A0AAB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0CDED1-BD4C-4BB9-B586-124DCDD7F3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98EBC8-C8C5-430D-BFE5-FDA8C3C0C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5C021B-C01D-43B2-8240-FD38DD0BEB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CEF1BD-A460-4F26-B2FB-22FB080F1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446D58-BC55-491D-AB03-71D04E67B3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F6212D-E345-490E-A671-5133FCF1BF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92C116-E9A0-4CDC-9C92-2F6424A5E2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27F8D7-0D37-454A-B5B5-F43C2D5421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F198EA-FCD6-44D5-A24A-5929C9E923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2EF59C-802C-4CC4-8FB0-2DCF7827D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E5A1E0-5C70-468B-A8E9-5424A18064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A913A9-FF86-4129-9334-45C1C4019B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98C952-7C78-49E8-88A2-B5C7171BC9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8903FD-3721-49FC-8233-EE8CB15509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2CF13C-FAAE-4192-94F4-72C0278197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7814B8-F0C5-409E-A75B-A48BF3C6F1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8C6C47-36AE-4DF7-89D2-96AB1535D4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5B59BA-E30C-4C03-B710-650B3EC7F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7F8C6F-5D9C-42AD-8436-58F9F4D411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B59E50-2200-4467-89C1-68E9A50635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95C7E7-A3E9-43F1-8CFA-6FABD10F1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7CFCC6-5252-4828-898C-8B2DBCF277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44A400-A20A-41D1-9B01-9543FDCD1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788EE4-996F-4B18-9B68-72080BF5E3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49B0DA-D1D5-436B-838B-957BE256C1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11D0A4-FBBC-4F3A-9530-935D4CB3BB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EA8D4D-A6ED-4E02-A4BD-EA5F291596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EDE473-498A-415B-BD17-8EC58BE4D7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3B677E-D020-4051-888C-69EBFB532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701711-7ABE-441B-8B81-2AE256AAE1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265EBA-1087-4CCA-81DB-EDBAEBA2C6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C38894-7402-4061-A722-1C1987B59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94F950-FD4E-4A0E-A37B-C1A94154B6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9C5C00-B481-4BE0-A9B5-BF9D781C1D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545B1A-9736-41FF-A972-88FDB3EAF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A7E563-9F93-4655-BF61-BE6AEFE874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EC741A-88FB-41F7-A9AC-E1E239546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1410CE-F4DD-4592-A4AA-4E6F2576FA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C9D749-FA94-4EE2-A2EC-93FCF0ED91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FBF85F-FD52-40EF-8741-2F35D03F41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F7E169-8FF0-4033-AAB2-27B285A525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667E8D-B317-4B54-9D4F-BEA65F5E40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7618FE-C516-478C-9D94-6DAEA334C5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6A07EE-FBA8-4BBD-A294-D3572149E1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D40FB8-2FA5-45E2-8F09-BAB782B3E8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9A0205-FC41-4053-9AB1-353792B1F4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C2D877-A8CC-461E-A623-8B5DDFF34D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7D23F7-4E85-41F3-BEA8-114E1D8EE3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B9AD0B-0F9A-4267-9776-CD155D611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8DE2F7-AF26-47EF-9A64-CBA7041603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D6607F-D66C-449E-B065-8B783662F3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DA9B9E-B343-4CEF-A03D-F3FAE5296C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D02D33-9E65-4526-B68E-00F86A355C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EEDE17-8D3B-479F-BB43-2A11F0A65E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927870-0524-4DD3-A577-901ACBA654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4E55AC-A5CB-4849-A9DF-67D7E669EC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42AA39-0E08-4E1D-A3B9-898446DAEB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275CA7-811C-4818-AB17-C30A110DF3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32108D-13DD-48B8-A216-1F60D8A30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0ED869-79B7-4B6A-B607-CB0E9289B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1E9FB3-7CD3-4707-B0F8-17FEE002EE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46FE3E-B282-4699-A802-8EFFE05A09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8DC2FE-B910-4EAB-BFFF-185EAD8873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97FB3F-6030-4B39-9BD4-FFD6FA9D15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116A40-4257-4B4D-85DF-7FCFE74AA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6E8A50-AC68-44D1-8C11-E7F2CE533C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CFD4DF-A926-42C7-8753-0C1A1403DD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D5FF75-AA1D-473B-8FBA-885EB53BB4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79B01E-CC50-43F8-A7DD-29CCA2F6B5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5754A4-67FC-405F-85D3-5471CBE28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9D658A-8D97-4B72-8626-45F87E859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336DF1-6DD0-49B5-84D9-46186321CA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B0D809-E7ED-4BB7-9DE8-7BFFA39419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154ED5-21ED-4E67-88BE-2648E10BC9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83E343-5D15-41C0-B4AE-592B75C0C5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C4BFF7-7058-4A29-8B29-1F5CC3F916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346A76-29FA-4E37-A382-3E6AC9F957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41FD5A-2A67-4F70-8AB2-9C48991E55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6096D0-C567-434F-BBC6-99EB7EACDD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B8571D-753A-4D91-ADA5-0666A5E272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37F4AF-2391-40BE-B50D-64BF725E5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5C6A95-0BA4-47F6-A6DE-EFFDBFAE63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FE9C74-1FA2-4F14-A7F0-7F1E7197DD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B3DF28-125D-4A55-AE69-68A9F2EFB7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2ACA32-3AA4-49B9-ABFD-2CC8E99BD0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15F4E0-CD1D-4825-9E49-2367246029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AF490A-4925-4595-8FCD-A4E407BDB8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FA4A6A-5DC4-4750-8B01-2A760235FB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826707-7AC9-44B5-8874-B1A8E77AE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E71886-B1CE-4DCB-9F87-CA55964034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A63950-7BA5-4B6E-B008-56CE913BB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3A5524-582E-47E0-8D13-038126AD21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4D3E8D-D97E-49C8-9C14-78AA8368F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EDAE4B-00E3-485C-8C14-4FEAE93E7A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886628-C088-49D6-8B4C-23E54B49D9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2D9731-B774-4A95-B42E-AAEB9145B3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0C7F05-78E0-4E05-A090-BA58DD510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1927E7-8EF8-4674-BEEE-735A382E49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3DEE3D-2C4A-4A01-BA81-E3C657E347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2F6A791-7A75-4477-A63E-47C78A8B52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71DABB3-477F-4EFA-812A-41F24833D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10EE74C-0C9A-47A5-9DB5-48E54793B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B854F1A-2117-4D9B-9F25-F5B84E2B1C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1536A7B-B771-4721-A1E5-D9C2D7560F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CA1FBEB-7C26-40A1-8523-58BF6B347F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44BBC1D-FC4F-4121-BA56-D7489C7149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58E0F2A-7601-4845-A5CE-9FAAEFFD19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508253-ADAC-4CA3-BDD0-53A0D5657C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139503-3ADB-4358-88B7-BD474686D9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6FFCBC-833B-47F0-AB71-E775B802D6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AFD3A9-4ACD-4E99-8610-511C5BB74A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90FC33-2F92-4612-8961-46EEDD5E89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41858B-84D9-4021-9B9C-A95BA4008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6C9C14-057D-42BE-81CF-3F28C6F6E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2C24A2-3D2C-45AF-8B8B-07BDDDAF2E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A67F6E-08AE-4701-AB98-7FE0EE6FCF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2B187F-FDD5-4734-B257-6F7E94E255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BDB6D6-122A-4F78-84C8-1AA7E7D8F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190F3F-9A5A-4D71-80CE-79E00797C8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73A57F-9688-42AA-AC4A-A7CCE25F2C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8C5443-8521-4EF5-924A-B5BE7870F1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2679A9-FA78-4A1E-BECB-F09BB08CE8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81EC30-5676-487F-A3B8-32C544798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48F4A4-B9F6-47E2-91AD-8ADF8EA66C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4E5C34-E2FB-4D41-B641-21ECBF4033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88621E-9A68-47DE-979D-21BBC272F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BCE40D-7F9A-4C81-9EF5-A82CD10EB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B54ADD-1490-45A7-8876-8993F7EC4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696CB1-B5E1-4A51-AE81-2C17DFC46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906F92-A570-4114-A347-B79E8E9D4C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E5EE62-413A-425D-890D-56ECB597E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2FFAB8-928D-4561-9F59-E19FCB777A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6F9790-DA3D-442F-B628-2C36185BFE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8C5DC0-2829-4ED1-9E3C-A533E2B1B7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A733A5-1195-48D2-A00D-883896B5B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A58583-30E8-499A-B6BD-96276003E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95DC93-1447-44C0-9775-2D148DBFAF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A02BBC-CF1A-4481-ADE2-327C6DDC5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0CF1FB-DF34-4D35-ADDE-5F227A7F4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ADB2F0-6CD1-402B-854F-FF8EB01ACF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330449-A6E7-488E-97B8-D827F53FBC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1D7433-8891-48AC-8ACE-0A19FB110B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8D4B96-F2CF-45C5-9497-3D0F79CC6B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909029-5EF9-4FB6-9A4E-6322854BA7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DB0C5F-233A-4491-ADA1-C98F2DA02A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09C307-28E4-4439-AEEA-1271C9802C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340713-C133-4BA6-AFA4-39F6C0344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5F5912-BAAB-48AE-9ABC-23F8F43AA6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79460D-4219-4D6A-8A24-5089B85235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E48B5A-6F7A-4F28-BCDF-AC6A184A63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CD5D22-CA08-4396-99E8-F3B782197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71BB89-F776-4FBB-B316-35221F664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9E933D-3CD3-4279-9428-611BD3480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D497CE-56BB-40CD-B46E-322AFB0B06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20B206-C621-494D-B267-454F14E6F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58EC7D-03E4-490C-ACB4-635E434C16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29802B-E089-41D9-93E4-DC1E10F8C6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3B388C-A52D-4165-AFDB-E70FE143E8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986F50-4EBB-4084-B5C7-1ECF12530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A18906-9E99-4E59-8F7B-E1148720F6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981243-7B78-4D0B-BE03-62E48A8124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08A3EB-1534-4FD3-8BCA-B0843983F6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F3EB67-F1FC-46AA-B827-4008BECEB7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714428-6045-43CF-9E45-A3A088720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FCB20C-66BA-4FA8-AC72-9DCCD7C8F4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BABD74-574B-4452-89E2-91DEEB310C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ACF337-D1C0-4DD1-88B1-A02203C07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2326D8-FBB6-486B-B3A0-9440B3CBD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B962A8-E65F-4AD7-A36B-13B702FE1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E205B8-7279-4B6E-8E3A-DC1EEF0C9F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2BDE0E-DB8C-4D90-A26C-37649F0ED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49F75F-6ACD-4D1B-9DB5-6F34673CD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7B4DBB-ECE7-4403-BF0E-3FF0858D9E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E4AA52-4029-4BFF-AC42-3ED342A73E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2F5F09-E8DB-45AB-8DD5-69857466B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BAF970-E81C-4C4F-B280-997900FA0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2D5FEF-8834-45EA-BCF5-E08B16D82C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BD5F68-EC4C-4E44-BAA3-A5334E5380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7902AA-4CFA-4947-9240-30BE640A7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418F4F-69B8-4AA3-824B-F415CF6599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229625-8782-4508-82AB-4F608C2E4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51E869-4F51-4DAE-8DE3-382C2A5226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EEBB34-5752-4AED-96D6-0EEA47DE0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DCA146-2971-482F-967D-C5017FD9AA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F73C63-1D26-4055-8674-B2437AF869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6CB7C6-B35D-430E-B6B5-BE24C0430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C055C1-3CD3-427F-8588-28C0C88799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A2E7585-C2C1-429C-83AA-65AF9B63D7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D5AF737-33AB-4CA2-A0BB-5983E309CB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1349965-5EAB-4DB6-998A-291F638642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E285274-68A8-4406-8D41-10BB543BC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659AB35-3727-49FD-BA13-7F828FE52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4339381-28BC-4B28-BEC8-E306D7D91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826A47C-4704-453A-9DF6-9D30A28981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1D9ED701-1E51-444B-ABE8-0C5333DB11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F6C0EF-29CD-4A9C-95DB-C9C7895413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AC329B-7CF4-4B40-883F-45B20D18EA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B6D0D3-39DF-43A8-B7E2-52472AF0BF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9E3A1D-C071-4D44-8E7C-616DFA8B3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8266C9-A700-42C5-933A-42FDB4993C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D8EF32-04B2-4CD7-BE3D-A7A68BD42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D476F0-92CA-4955-B8CB-B25ECA9527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E9A61E-7013-4539-89B0-15E5F73C2F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F09961-1DC8-452D-8BC4-8E1732FBB5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60A6BB-2BED-42E3-BCA7-50747243E4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45D4FD-4157-4B43-A6A5-8FDEBA5DD5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8FE228-C540-4E74-9C78-AFF2D95700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607CC5-BD36-429D-B223-DF9B82DCE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8CAE73-85A9-4BD0-8A33-B6CF41D23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67271E-0911-48C3-8A7A-C2D9112E9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316252-E15D-4B50-8BC8-56F6F1A1EA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4898B8-3CEC-4600-9310-71F33CF3AA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34D1F8-749C-4573-9FB6-B06984DC0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3AC1AC-FC11-43F7-82AE-1F2A1113F0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37097B-539B-4237-8531-CE31D04CE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B6B30A-0A0F-4E44-A919-F938B7F17F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261F04-900D-4E0C-A4EE-FDB332C9E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64ABC8-D1D3-43C0-9168-78CA097FB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A80A0B-4D50-4BF5-BEDC-94BFE91CDE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860DF9-D2D4-4B57-BDDF-6A46C1F848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48D647-F7C4-4CED-9F74-5680285BCA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52EB78-C166-479C-8EAC-941E64F682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5C56B6-62D9-4756-9807-7D99D08C04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2FBBDA-C4E0-4C32-8764-E1F9510718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265658-BD8C-4AAC-B8A6-A2CC087A0A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53235A-549C-4B6B-83B6-5E3F2B4C98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E3B697-CEBA-4691-B973-5484EF7E0C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16D9C2-917B-4B3A-A84C-5B4CFFA74F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EA2AE7-E8D5-4C82-8469-4BBB7EE2F7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DC9AD9-4A8A-4C72-9D86-99EE394A7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0AF1CA-8B95-4BB9-AB27-89D9ECA5CB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AD9ED9-2D68-4D04-80F5-038F71A8FF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D41391-C964-4C25-8AB4-E087AAD5C6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41D373-AF81-4B94-9201-64251A7450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92DAD7-9B11-4BD9-B4C5-BEDA591F3A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C5226D-AE60-4AE0-B1CD-E73A4577F7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659C83-0DCB-44F5-A0F3-9B3AAA07B5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2BEC56-7811-4A54-9215-E0315EFEB3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6E5976-8DA2-4EEC-91D9-3A09B63D2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735CE3-3620-4EE8-BBD1-72074CF07C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491E1F-31AB-4B7A-8E97-4DBAC2136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95EE64-5553-449E-8303-DA4D055092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06556E-0366-49FB-B55C-D8A1978BE5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7E7C1E-1479-4806-872D-FD789FED9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AD5DF7-82E3-40BD-872F-E114D03C6F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25870D-9972-4FEF-BD06-A918DA3C5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D5A9B1-ACD6-4DCC-A77A-78AACB1090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576B60-626F-4D83-BF1E-AD93D91CBC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982C98-EC38-4DBD-AA31-CB69E4CA12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E8A758-3C29-41B9-901A-33E7EE717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F38FC3-186A-491B-B715-BC87C6E85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361478-FDF3-440C-B630-6610CF7561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3E3180-969C-4910-9313-F9829C50E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26AE8B-25A7-47DC-9DA9-303DCCCC19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FEFDAA-C34E-4023-83F4-04D3464BC5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61F159-7FE3-4E32-9A65-30F20028B3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1E73A8-149B-498A-95DC-968EFA4619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C8AE77-4AD0-42F2-A2BA-0A1C0EE32B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FB1916-2C59-4871-BCB0-19A14073AA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6150F0-7DFA-4A98-A950-53831EF3F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F9A616-39EF-44BD-91A2-95FC8A3C3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BDFE29-3C7E-4EFF-B6A6-262EEB78BF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A094D6-A17D-4614-A17D-130B6FD265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4D10A2-B7DC-4DD0-9D39-928E02BA0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8C6788-3EBF-4995-B2A8-ADB7ECEFF4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F63B22-2B39-4675-9C62-5D48A3B93A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EB8E8A-CAC2-46D4-8E71-B332F58E1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1B81F9-5087-4D50-B096-205EE466E6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F1A834-1DF6-4FD7-8385-29A2D734C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DC66B8-5D47-45E9-87A7-8D8D210DC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B483F9-58E1-4638-868B-9D55487B8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BE8951-D7CB-4482-BD86-5E120897C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381981-AA7F-4370-97DF-049E7295F4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42076E-94CA-4596-81E5-EB49FE4A4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1CBE1D-9021-4687-AA6B-B6D04EDCC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3418C5-CA4F-4A20-9B05-9AF15DA901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EEB8DE-088F-4134-A5E2-48D98267F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250658-FD51-42E5-9626-012113273B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632860-48BE-4DBF-A5BF-6788653CAF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5D1CFE-8F01-4882-BF50-D541EF7C0A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E65D94-463D-49A3-8CEE-F3B03E8DEC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0EDED5-127B-4D8E-BFB0-8E32C7F1BD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C993BE-E955-4110-8DC5-64E8EDC31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4573AD-75E7-4C2C-87BB-607601FA99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7452E9-BA66-45ED-A4EA-16AEA540BD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7C5CA4-59A4-4341-A245-B89131F40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9C3D40-0473-45C5-9A75-AF28647BD2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04755C-0CE1-481C-B9C2-C27EB73605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B680A3-08E6-4845-A1E2-414A24C90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CCD819-18C7-4FCA-838B-94368EA83B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F1071E-A778-4C49-B232-C2F0D7F95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612298-ADDD-4E29-87B7-EEE89297E7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D7D03E-B5AB-4429-92BA-4F2E32C9A5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18CDEA-C902-4AF3-94B7-2DCA92183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A9A169-8EAA-4C8E-803D-492C321983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7EA7EA-1EDD-4E7C-83BD-6866CD0CC3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972791-9007-40FC-826C-AAEE15ADE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2D945F-462D-43D2-9C0A-AFE7F4D30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50320B-D40C-4DF1-8176-D381019F4F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161384-A6E8-4D07-9526-0DA6B756E8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6C44A0-F9EB-4B33-AC4A-C7A5593C3D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131CAD-4A9C-429F-B5F3-1B8A20982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0CD7A6-CCC7-419C-BC1D-253AE7AB95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1DAD2E-F7C5-4824-9803-96C438376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E1A39D-16C2-42EA-B38E-71964C8F96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CA6114-8078-4A0E-A138-8494621E1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6E0929-C275-437A-B9D6-DE3FD831C1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09AAE8-1419-4C9C-A90B-99357EE0D0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DCA82C-DF53-4BAB-BA30-A1449264C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D2A6B0-F628-4380-8D23-4C4FDB2018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C4B87F-D271-4573-9BFE-D1C464F7C7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899BCA-37AD-49B7-AB94-BA3B4C71F0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06CC3D-1540-400F-A65F-4DC254D61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6BBCC1-A6D2-407F-893F-5888FE7882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4EEB67-9BCC-41A9-8ABC-D702AAD7EE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48DB78-6482-4325-9569-A2F9F76DDA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E62DEA-411C-4D2D-BA5E-90E83CB4F3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A1C0BA-DB50-4C1F-AF96-0FFF432E4B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D13234-EB1A-419E-9F02-A39B4DA95C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D20C9E-AA5C-4C62-8E9A-ADC3E6C4DA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FCBBD1-12DA-4733-B2A9-05AF9B6DC5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690386-681D-4300-B120-135D4AF62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EEAC79-9E4F-4013-91AA-BB273A8568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FF5303-77AA-413F-BC2D-1DEC826130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BC2B79-0B54-4D76-8280-C73B6F2428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B74888-AACB-4051-963E-E0DD8A4178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2450D2-9833-4106-ADD2-6E30703B03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A3F8EA-62EE-46E4-ADFB-9B47D24424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7D0D01-7FF4-4C59-9633-DEDD9C6485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788A98-D000-411B-8D75-DA64A8901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6D2EC4-890D-44C8-A0D5-46DD779E0B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5DF35C-BB1B-474C-B87B-04F790569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0D7D31-B342-4048-A5A4-522F13AC66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79CF4D-33AC-4A62-B7C6-BA5C7797D0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D7F48F-D642-4936-8129-A3A43A9BC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DF8E58-8BD9-490B-A91F-A3C0E504A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AB8529-32FC-4C11-943B-60B8445B2E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A94197-ED69-4B5B-8776-7E2C5689E3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977E43-23E8-452A-A4A6-F2F18CE30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6F935B-6A49-4CF8-9F97-492BEC0415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138FA7-F221-445A-B2E8-74743C583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397222-8DAB-458C-92D7-F516C6A7B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27C450-6F07-4DB2-B472-2DBB11BA0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5E39AF-E7A1-4BAB-8D5E-5E19AE43A8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9204CA-EF67-4CC9-8A99-CD7E5AC1AE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837162-6676-41C9-93ED-1F5DADB5A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5EE0D8-F209-4AA5-88BE-C4A0706755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F48397-A86D-42BD-A12C-DECF18FBBA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526364-9D17-4EC9-819E-453CE3D7CA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41192D-4810-4175-A913-80B6B70560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49B41F-BB9E-4BDD-8C15-DED03344A1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C00F22-9BA0-427E-B86F-AFA7A81EF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DAF27F-C5A3-4DF8-858B-2F28CFF833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6E28D2-DC47-4F8D-B4C1-83AF15A6D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C8F592-F8A8-4914-954A-1A711813BC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A6F178-D569-4FC3-947E-16530D5727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F3BADF-ED7D-4376-8192-313CBE709F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F0E6C4-3686-4027-8A3F-A7C285AD5D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B00FDD-FBAD-4E57-B329-3235E323E8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F3155D-EE9B-4203-BAB6-F1769139F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17A230-DE04-4874-83CC-474F9E718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17D2C2-B8D6-44B4-B82C-C5646A66B7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B05C96-A1D1-43B4-9AFB-8AED5858A4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BA5E1F-4472-4AB3-9FFF-886EDB19D4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FA4DB8-D1C9-428A-B770-E13824F27C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25AFE7-D859-4E80-BBE2-7325DE4331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4E87A6-7C27-45F2-BF42-C1D0D03134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73A2EB-7BAB-4085-9498-FE3D3B2E9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68D195-0351-470B-A5CD-4F7239EE7B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9A3309-6068-4EEA-95EE-475FE3A69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F7676A-1E59-4B1A-AF16-7F4FA3CD6B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1DBE165-466C-4867-84E7-70FEE88008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AB9465E-2F90-4BDA-87F1-009158C628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17A94B6-EFA6-4722-8CE2-8AD4D04AC3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A857E44-E837-42EE-B7B2-B9C18361A9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17F035E-5147-454B-9856-BFD5EA40D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E02C200-3D3B-4584-B531-ED36876BC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AB6740A-D0A1-4B41-AD02-05170D7AAC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B8EF898-3861-4590-92C7-D5B1666731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711348-53C2-425A-A7AB-99222DD6A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2A3B9E-D85D-40B2-A46D-0BF4B16948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673B1F-5DC9-478A-B545-A0F1887D3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01E303-D8EB-440C-9A83-CB9F6B439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09E1E0-13CF-4603-85C3-ABBE139B28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20D71F-50A2-47AD-828E-083888DA8C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CFA0F8-2204-4B83-AFAB-A37945E6DA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409C48-3DF7-4053-A9AD-3B5BA5A627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4C1994-60C7-41A6-A3D5-FA91D14DB4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B7C4CB-1D19-4D00-8C0C-9FC5D7B68C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892B9F-9CEE-4D13-86DA-306656C80B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5304D5-18ED-49AF-BB4F-68F5BA6D3D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388E99-34ED-4C2E-9CA4-AADF2EA531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AD1CCE-C9DA-4915-A96C-B3F040B0A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CB1200-CCC6-4C39-8235-916D78F04D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2D1B5E-9AD0-42F6-A86B-9D50AD740A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7B47A7-77FA-4E03-AB86-3C90BDAD9E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50AC43-D2B1-4C68-9C8A-2FA7826048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18E027-5CE4-4BBC-87A8-DFA402D0D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88DFEE-D878-4D1E-8EA2-9BBAE4B7E5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C36E50-B7F8-4B2E-A6F5-615495308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BBA091-1B4F-46E4-8C51-206F1565EF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871E77-EE24-403B-A95D-46579ECB4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276552-57CD-4184-B767-DCBFED1A81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6B15E7-73CC-432F-959F-44908719F1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C4499E-EC07-4215-9284-C8C7F748AC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02B989-4EA2-4828-A8C0-D21988C96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46ACED-110A-4BC8-962B-388BAB09E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73B44B-56D3-4D48-B17C-48D7B5E0EE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89105F-B571-4006-BA8C-7FAFD15F4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EBDF8D-18D2-4336-92DD-1A1EB5D0DC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DBE26E-CA72-4DC3-99E9-96D2590628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2E3BD0-134C-4E08-A19B-0BCA251E8B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3A31B2-DC70-4B64-BFD5-10CF5018E7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12C844-26E3-48CA-9503-D56BB05E83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34DF29-09AB-4FB9-AE49-CEB00E62A6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22A530-D418-40B6-A2C8-736E1FB397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A49553-7938-41F3-8C89-2154BADB15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9CDDD2-5E9F-45A8-9206-D63B7415F7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A1CD4F-2113-4B2B-8F9E-F6CA40891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5AD0CB-6B20-4498-88A0-9EADF2FCFD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96196B-F8F4-4ABC-A166-EE3C318A97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07D2F6-7B2C-44B8-86D0-E62608784B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2950E3-C93F-498A-A1E3-E74E71F76E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179FC1-6C08-4528-B04F-E89F749548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B43D1C-F517-4A57-8AF5-3E357202A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B4BCF8-74AC-497D-88A0-474613C24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A06294-AB84-49CB-9114-A230153C8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7DCE1E-200E-48F6-B2F6-9DC56C052D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80C56F-C735-4B2E-90B2-976E8B606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DA6531-16D8-4A6D-9AB0-70C3A617F7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4E9514-6DEE-4FEB-B343-8C81551B0A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53C7B8-D4BB-413D-A53B-6460276B56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B4A76D-2674-4AC2-A0BA-4E10007AB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6EC3DD-580E-4158-8A06-71CF5320EE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1C98F4-1AE8-46B8-8AD4-EC0C2EE51C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D80E00-70D6-4740-9CE0-245A9D8998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B7073B-F185-400E-86F8-79BADF6D95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D34D90-82F4-48AB-908B-B780E25BA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872155-0613-46C7-AE49-EA20FFDBC9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88DCCB-2C84-443E-97D4-15F8C16702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2DB966-77A1-4415-8003-E30CE484AF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BC9D2E-4C02-4595-9C77-9213DD6AF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2F3851-439A-48A8-9A44-E6347A3A09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39EDC5-F0AF-4DF8-A5A8-EE1CEAF007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B292BB-A821-46DC-8F7B-8A63E5749E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D158CA-6D8C-4C94-9783-68C49017C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E61366-AD86-4B4E-8CA6-4F4FB8949C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E93878-8F08-41A4-B406-129A4CED0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1FAC21-3E3D-4B36-9A7B-4C2B4DD902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154EAF-44BF-426C-9125-9366CF7A9D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0629D3-7432-4DC9-9AC0-13FB568EA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00A284-2AFE-48EB-AEBB-DAA9F03575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488EC5-6FB4-4AA9-BBDA-74792FC7B8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7DDEBA-A0E3-47A8-8F8E-58802BDE22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55EED6-ABE0-4291-8190-FF92C8394B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82F6FA-B5A4-4744-8FBA-12E0CBEA6E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4276F5-8437-4FDF-A874-BB0F14777E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E81DE3-1069-46D4-8B53-46746EB215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F5F5EE-4FA5-42CC-B78B-B758B0CADE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5429D49-5DD2-489C-B934-1BF5E4B3A3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7D111A3-128F-40B5-9730-69295F6D01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B7AABA4-DE5D-4983-9A77-EC705012B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9F6079F-D2E0-4B45-B066-0D116DD671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51CDF0F-3BC6-4569-AA85-6D99D74A0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A12A53D-5D07-40FF-A538-D66EB5A683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C664B4E-2933-4F03-A95D-CD90DB8D4C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4592045-680C-4BBD-A489-39FB2C114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E7EB20-C65B-4883-85AD-0CFF910CC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5EB149-14CA-4542-B075-FC6709E2DA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69C75A-A470-4581-8029-C59E537845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85D769-2726-49EA-AB9D-BFA1A851C0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ADA111-DAF2-4FF9-AAE0-3A4F086A9F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EC01C0-B518-489D-92AD-21FFE8060E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DF81F9-0BF5-44D1-98E6-E3C4E46435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C179F2-28B9-4222-828B-54C79F3F69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94D2D1-F2D6-4F2B-B4F2-26A0AA7A96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781AAC-E7EC-42C0-BA78-DAECA539E4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29B781-EE94-4CE4-A891-40641EBE3A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DDD5B1-2AFB-422A-BE2B-BC6C6E5AB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68D15B-713D-43F8-A202-5A28594EF0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AD7874-013B-4EB3-8151-75048562CC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6A1AFA-2368-48C1-A6F9-40F84C78E0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1C1D3C-B5FA-410E-AC36-DC63597003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3F6EC1-A916-4B80-8F97-A3A3AED67F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9C90D3-E1FB-408B-957B-7E244A9842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5996FA-EB15-42B4-91D9-83BD777523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5247AA-A262-4F0D-B1F6-F9C2529E88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2AAD9F-1FC6-4F8B-B84B-00274C4206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851D83-CE78-4E7F-A8DF-157082E03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E6DD50-5BB6-43A2-8E41-EB9CB361A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E6B0F5-0012-4E57-BF40-8624ED0EFE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A4C713-E3AD-4F03-807A-9EEB38842C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75A63C-3076-46A3-AC1C-F788C77B77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2A4D1E-9D7A-40EC-A2DE-1BD8D58F88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0C127E-9F9C-43D3-87E2-619C899AA2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FCE1F4-D703-4337-AF78-729BEB6A2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E7B7BE-D2FC-4203-AD41-09D626D463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EB596C-5EBB-4DEB-9E7D-6452209D80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975A25-2C87-4F82-B476-8E9AE08228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E6E707-CC2E-4DD3-8D72-DFE2ED7BD2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E975B5-50AB-4328-9499-06D446CF25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F15695-5483-4F39-BD1B-D62AB8651B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AD254B-F428-4426-8793-891EB4EAA1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62C057-E86F-4D80-BBE1-0459D41515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484ABF-D389-4497-A3F7-89F3A44BE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46F4F9-E93C-4FC7-9E8E-2562EE4DCE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70F712-679E-47C3-BD76-C23625F078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9D5E32-B845-4DD9-9362-BC80C3EADD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58F55D-013A-4624-A833-AD6BF53DA2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C76ADF-3087-4C36-891E-4E2AB71B9B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2FB5CB-A45D-4D95-A2C5-ED099022E9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4CFAF2-E7F1-4548-8E2C-C401C2D3F8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1F2424-B44D-4607-82D3-8ACF9D2C8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F7F6B3-30AC-4D56-92A8-C67589FA1E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1A013A-E569-4662-A5A5-49E568278B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AD000B-D73C-46D0-A65D-6F06D7DABA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A07084-FBB2-4964-A435-6CE679D4DC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42FE93-58A8-4335-8C9B-7109A42ECF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132ABD-2479-4FE0-AA73-2F56E438B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E3D9F8-EF6B-4FFB-97C7-328FF4F35F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486738-D127-4B65-94F4-EBE274C992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6D03BE-6B72-4E8C-AD9E-F5CBF90372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84133F-6FA7-4BA8-BCD9-BC3E4AAAB9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89ECD4-7B04-4745-A551-1A05838ED9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4AEE78-693D-4147-8234-E868BE34C5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DDF4B0-F30F-4CC2-AF6A-D9EFB24E2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CE6C34-94C4-4D13-9194-78EB0E2638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EEE18A-D3F3-437C-B717-9C6A07C8F8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14056E-70F8-46BB-8FA8-419FE3EFB5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37C30C-15A8-4A11-90CE-8E15E0BE50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864EF1-9035-47EC-BBE0-BA8D4A13EF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806703-F158-4404-9E0F-B9C553745D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5BDDED-E8E4-4AD1-9BFB-EEF0AE380C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95A66B-80E5-4247-870A-7A175EE2F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5F1B07-F3C7-4F9D-8F86-AF1733B910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9EFE14-FC3B-43F8-830C-2131B8C927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B32D448-8CEB-48AE-BA88-B1CA71D231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8E6D05-BEF6-42B0-8737-79EF2F0E99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94528F-8083-44E0-A641-096814FEC5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CFF4A3-B6C9-4227-991C-23412D332E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E19F12-9FEE-4DBA-BBFD-7AA23F72D7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8649AD-12A1-45D7-9C43-58E233A03A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568DE0-6C52-47C6-AC75-D8BE09227F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214D0C-E58C-4B23-AB89-02EBA4C3A0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77C76A-FC30-4B01-A034-10F82DF6FF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0C1F2F-ADCF-4AE8-ACE1-72A0988558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AEFFEE-0683-4E04-BF9D-A0291E113A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1583AD-B71B-4572-95B1-9C6FC6B3A2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9A77EE-D5DF-48FC-9390-B6AEB3CAAD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29557D-2733-46D6-852A-7DAD87DE6A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FB8F0B-0C86-48A2-94BE-3926CCCB6D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D2EAC0-F52B-4C45-9D41-65F9D3F88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68645C-514E-438E-A076-F48884DBA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68AF9C-8676-4182-AB40-007AFAA101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5D92CE-8F5B-408A-AE42-91D9EB883A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8E250B-2655-429D-AE3F-C0846EC5D5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CE2F9E-58CA-4577-A51E-A5E1641379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943E79-B278-4C80-B056-4C2DAD68EE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4409D3-A798-4BA3-A303-998DD5E983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BF2853-521E-4D55-8464-7EC40EC361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E67B38-CA6A-44E3-A0B3-7B0DA0CCEB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9C5464-49E6-4F29-8F6C-BA92356380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041F92-2675-49CE-956A-650C130D0A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1F8333-50BC-42C4-9918-475F905B71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5A5D08-054C-4283-951F-F386ADA368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BA0767-E1FF-49B1-A60A-E1E79842D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11127D-11AC-4F2E-9A81-0584DE53E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1AFE49-890B-462D-AAF2-C896492D9A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28F2F3-6F58-4F78-A4A8-0F5B92AA18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4BFDCC-B055-4AED-8984-331F3EB36C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7B8C13-C9E0-4272-82E0-8AC24EE80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8CBB5E-F5FB-43AA-94BA-1DD3C95CFC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33580B-BE6F-4E7E-A66F-9E3AF0716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95C01A-7588-4E99-B3C3-9ED9E00E36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26BACA-AE3A-41A5-80C0-7DC73BF1D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E377B7-729B-4D58-B144-E88D4309BF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184ECBD-93FA-4B90-95D7-AFAB678FCF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9BA085-7F80-46AB-9251-81A092E362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2D2066-C99F-4845-828F-AA7FD3D409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0E33FA-AA7E-4EF1-99E6-2CEA35FC0A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208345-3C3D-4939-B588-D2162B803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248B1B-D96C-4436-B54A-57E4A5AB86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14F41A-03AA-4041-8554-29AF700589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C3FFC2-1B6F-4F47-AB8B-688227901A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E50CE9-1393-4714-8C95-645F05BA71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335103-CD53-45A1-A996-52F016A223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EB9351-63E3-466B-A404-B77F04659B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FCB7BE-586B-44DE-A771-4864288859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2ECE3D-73EA-42B1-8886-7CE5B2954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7B2365-50C8-45E0-A24F-852DD8B242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35ED71-FA4B-4F65-B9D0-220A5A28F7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4C0610-09F7-41B2-9D8A-6CE850BD3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877D16-57B8-4F49-A157-31B1B37F1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12A656-13FC-4BE5-AE58-29F54BFF70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E4262F-2BE4-4B9C-AA7E-772FCDBA2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DC38F6-8C25-4210-8C52-3D961D8EB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D9E656-607B-454D-B1C6-B3BFDAC62C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A1A401-05E9-4262-A05F-162C1123E7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3E0AD17-DA9F-4CF0-92F6-8A1A6BB76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C633A4-A7BE-46FB-A3B2-5DD6563FD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612017-7608-43E1-92B6-962CBB3F3B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ECECAC-6525-42CA-86FD-1A044C2452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266F16-5864-44CE-AE5C-06674B132A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0FD990-87ED-4A16-8CFA-47D190E23B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474202-149A-4B0B-BAF3-15BFA6A552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B31929-E538-456F-9DBA-6D5E97568F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6AF77F-5049-4F4A-B6D8-0FF50AD9F0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4C5DB6-34E1-48D4-8456-22E7375BF1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0BBE40-C317-469C-9AA8-5AECF94CC7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171AA1-4D22-4D48-B582-172B421268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EAF5CB-3C7D-4A83-AF8D-A4ADA5E6BD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B1B70D-91EE-4DC4-99E3-F0CAB1F7CF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2959B4-1ABC-4EB0-8D0F-63D25BBDB6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97A2FD-F333-4F95-9F68-A5331C30C1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74E1A9-E14E-40FF-9158-58B01D09D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FD3248-0272-4425-92EE-26EBF53BDF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547DDD-02BB-485D-9EFA-85FCDD923A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1AB8DD-22BE-4F26-84D6-B72008CD59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3DC775-4964-4AFD-B3E7-C7148C3F95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366B0F-2EE9-4CA5-A6F4-839ACABCE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63F50D-24C0-4CEC-8B0F-28C9DDABB7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2A3D1E-8107-43BE-98A5-393F8F4CE7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873A9D-6533-4B82-9154-F7DFE658F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D3027E-A680-4A88-9F7D-72DE965CC0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6B75E86-E389-48FA-9413-24EA85C24E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131C0A-9DF2-4885-A944-8F35E36949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EBAA9A8-7D58-4977-91A1-F51F3846E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F27D35-620C-422A-ACCD-2DD1F302A2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C12FEE-54A6-418F-B41E-6B5A97391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F81EA7-5E71-43CA-8D26-7CB70CF58C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80DA29-F4C0-467D-A100-A8BCC3C3C4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851A18-17A7-4318-B2F7-25E43ADAC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5535AC-EA78-43C0-9BEF-A771469BE6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F52999-9CEE-4748-A4A2-B60B0B94A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021C58-9200-4FDD-BA6F-04EF66B62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768BC04-30BC-4C32-AAD7-3750028AA7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474DF40-426E-417A-927C-9E906B4D8B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C408E75-B838-4189-BD44-52A3CF7C35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7A092F2-11DD-4AC7-9668-36B6C6A9BB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4781B1D-C176-4BD6-9E46-C50AA32524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45FC530-4111-41F6-A84A-FC8699DD22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E2A55E5-2555-4FFA-8403-689C75FB67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B98D078-A65B-4EA0-AF8E-472B846720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ED93C8-DAAC-447C-984D-1529C361A7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3BADE6-8F20-4CA3-A956-1B2A63154B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EE4DA4-7E9E-4970-AB82-63F3AB45A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4D7773-E1EB-427C-93AF-F1991AE234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F76ACD-2025-4C0C-A982-A6AF7CF0D0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49724A-A4AD-42DF-BE93-14A2766098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B24331-33D6-4FC6-8118-9D952E10CB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DCD5B9-8A61-45BE-96F4-9A68DA7BCB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C74062-FA89-4A75-A22A-E5A14D4F0C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171D53-C55E-4F92-8715-365B568F9A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E2499E-B136-4AB3-87BB-332E06D6A6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E77845-2405-421F-931A-B07826090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F31713-4FE8-4067-8A7A-F928E965E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0AE875-C386-4370-BB72-2BF7D96B6A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D0D84D-62E9-4C4F-A6D7-005024F06E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7C050C-375C-4958-90F2-C3F576D5AF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B458D2-0CF9-4B82-8CFA-D5CE0478C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37A056-7A90-46C9-8024-6D19730976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471DF8-40CF-4DF6-86E4-03AB9F6A4D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94AD73-C3F1-46F4-9A6C-43C5FA0011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B5710D-6158-4925-BE52-796CCBADC5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E5A36B-7A8A-4426-8AE1-C573FD6F7A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4BAE5E-4C83-485C-9E8C-0B69FD97A6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518EE4-7DBE-4293-B61B-9051225CF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9A81D3-7BE7-4477-8438-98A6A68F30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7EC788-ECB5-4CC5-88C6-3E18523E10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D49796-4416-4782-A59C-DA57B6EBC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AB1695-5052-4342-8893-A2A1389137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401F68-58B6-40E2-A5C7-26D8949B2C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0F800B-B1A1-4597-8669-B416C5A38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EA1A3D-72A4-407C-9D5E-B89F1F4D93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E65999-9492-4BE1-93BF-372DADE9A3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01EFD7-7AD6-4690-B5FF-B5564A1D8E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6B4D48-E622-4C85-A4AF-CEF03A1A6D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9E050B-DFB6-4564-8769-DC385CF36C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B9F5F3-2E86-4E38-A69C-D25FB0EC09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294C4C-7B42-4926-9265-8BF2F4C3FF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0C3558-D235-4D5D-A15D-91C0157CE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403BC7-25C4-4DF6-850D-2D9522E03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9FF0FC-EF69-43D7-AAA5-9AFB1C9802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EB9FC1-7E22-477A-8EC6-E5B40F8666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F68B2F-FDDC-489A-A3CB-4CCED7ECC8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74E2BE-BE6D-4DFF-9078-BFFE09E90C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D2EA1B-F5EB-43A2-B7AE-7ADBE8163F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C1DBB1-69CD-4153-92BB-F6F67C0DB2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F17EDB-0BF2-43BA-A843-7F8599541D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120D78-CC68-453A-90BC-FE25A157F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AC28F4-5F45-48AD-AAE8-AA3F7A1171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11A2B5-1179-4407-99E4-7F1BE25C7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C86DEA-09DF-4E7D-B8EB-21EE0CCE4C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76AB88-0730-48CF-ABF7-D12ED4C8C3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7CE2ED-3DD0-4DB4-9D0E-14258F770F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1C51D1-9ACE-4CC2-86F9-9CF311F1C9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7D3FFC-B8FF-4487-98A4-45405EFFC0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12397B-8016-437C-A28A-DCDB43FD4E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B22B75-62BB-4983-8E65-09B88EDB9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3A6E60-6737-4D9C-8186-34495A4412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94EED9-4A44-4934-AD35-674481609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2E80C7-DDDD-4074-A85E-371F843A9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AAAB10-C25D-447D-B23A-FB36EDE5FA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4D8594-D851-417F-8DF0-6415AFD725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243C6A-5534-4796-8FEA-D412B188B5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C9ED3F-888E-4C1B-AB9B-C3440FD9D5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4C83CB-9CA4-4068-8270-9882A9474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0F29C6-ACAB-48FF-B04B-D621C9C9B7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BA9A96-7443-49BD-82C2-1F1D7D97DF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52B8A4-F190-483E-B567-686ED3020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97FCD5-F640-485D-A4A4-5B362616A4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03C96D-E351-4AB6-B155-9E8E95CA29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7C34BC-FE4A-4A38-BAD1-0646395C8B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6673DD-E4CB-42CF-88CC-98B0BE0250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821E73-E8D5-4598-86A5-34C9A729E1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940132-50FE-4354-8D0D-A413D2592E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568707-AEBA-4310-B6B3-7A9C64AFCE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E0EF03-5974-4448-8047-D7F38177E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B89AFD-0B3C-415F-9561-33B4996D0A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F9CBDF-B39E-4344-AB1E-A8802A0813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622591-9EFF-48DD-97DA-3905B2D80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1A21BB-A798-43BE-9EA7-57DA4EE515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A1E918-1653-4E34-9FBF-8C7919D5D9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C204480-8FDD-4F31-A77B-D2C11AEE88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963E104-0E34-449C-A6A4-D2D40608F2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2E89963-1234-459B-ACD3-57CD140C95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FE99140-B112-47FF-AA3C-7E8FCFDAB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148956D-5F4A-449D-BB30-82767367D8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48CCDB64-7F20-4957-984E-A23F327C84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013AF4B-6955-437A-8A2F-E78806DEF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2351C61-31BC-40C7-ACB8-9F80F2679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8B264C-E73F-4484-9D12-5711B83EF7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572B04-1AA4-4843-BD22-5F0E0905E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537329-AF16-4F6F-9DE9-BC587AF55A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E36A50-C500-4561-9E7F-B4AA440E3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335BC2-0F88-415C-A6C8-B915EBDB23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827B26-0152-4F5A-9AE1-C9F1741D1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F0641D-B992-4616-91A1-0A4042197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CC183D-3AFB-4350-B7F5-748184843D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2BC05F-DD5E-40C7-A1DB-051EC06B7C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54832C-0572-4C0A-8ABE-04A89E426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9E86A5-86FA-45D8-B969-00E0ED264E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71F31B-E992-4168-8B6E-022CC33C2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19DD26-EBBF-4C5B-9913-8787E11B1A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1E3599-049A-4B3A-8FF5-A493B62FB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4EE39A-80FC-4EC4-B4CB-31AF77356E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37547F-7CF9-49ED-854D-DF2DF51E1C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EDFD3A-A8B1-48AB-9AAA-9F7A40253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3FBE6A-8C59-4F9B-A34C-9CCDFE1EEF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454E0D-0645-46EC-B36E-F17E5246C0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791625-7F59-46FF-B0CC-12F0C7867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791791-7BA7-48DB-98A6-008E700BDB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EF58E1-2732-4CED-AF70-EACA400DE5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975DD3-9A95-496E-BF01-8B4ACFAD3B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9B2808-B246-4B8C-8D3E-2F5B0EE87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4E6646-05E1-4561-921E-B6765502E7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749628-E99F-4A2C-81DC-61E7F8A251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0948DE-B79B-4A95-8957-8C1A6E88A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7F289B-F561-4749-B3BC-573CF9AC3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7C5406-5395-453D-9726-0CA22F7A8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7B70F2-0C9B-449F-AF73-3B8CD2143C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528A2D-BADC-4F26-BE49-A0F4269256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570DB9-FA5C-460D-ADF9-97E6A0AAF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B8CCAF-428F-4262-A89B-E77B045AA2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2DA1B2-2AE6-4ACF-B381-700BCCACB9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7BE760-D749-4965-9026-7BA3A46C8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93A69B-C71E-420F-92E9-068B20A014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7858360-2157-4452-B644-B7978A27D9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D3B375-FB35-4954-9A7A-8DEBC02753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C00FC3-C19F-4353-8817-60637151CF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6D452D-1444-4704-AC8D-D85AE2BCC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4CFA13-48D6-4E85-B021-BAE1B15B81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D5D142-6F37-41EE-99B2-3AD4D6AF2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D40734-D73C-43EC-BC05-02FDA6B9A8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B23659-62C0-4A36-908F-B9DB234006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A58442-A8CB-4E59-B527-3429ACAF8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3DF2A2-6504-4A9F-A413-D01F965AC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7405A2-2079-48BC-ABDF-C279CC274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89CC10-56B0-4753-88B7-EB7D28163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383CE9-D9EA-465A-9969-918DB5D24F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7884DC-3D99-4F2D-90B8-FB42C436DC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5DF7EE-3FC0-4F1A-B95B-239D648DC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FE1023-A113-4E78-B5FC-D0BFE97927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7CB4A5-6905-4B1D-B649-A98A48C0F1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15DE31-92C8-4DD3-95F2-260C63344A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213532-CD2F-4DF6-9F87-DD0231BCF3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4ACB7B-F483-4EB1-8B51-97DC95A1C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AC541E-AD84-4E98-A8D1-B52BD405C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597E83-EBEA-41A9-AD6F-B768E849FD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DB6554-B515-4B34-A1EC-0B13C10DB4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639487-B840-4559-83A0-45CEAA63E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AC03E3-EBAD-4EB1-8E39-603F73216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8A60F9-4C56-44FC-A586-98EAF6CB0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7575D6-C670-41F7-AB6A-7A9B44A28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E1A59B-2A7A-4E34-AFC4-C564658E2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5CB1BD-68B3-4BFF-B305-089172631C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16D732-6650-4621-8DE5-A2D6DC1A6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3A2613-E0C0-4680-8939-00E5AC054F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539C13-D94C-4441-B5A9-809F25A708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A9D81E-5D0A-4840-8DE9-28311F143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229F61-B6E6-4F16-B0AE-7532518E1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D797A7-BBA5-431A-952C-F2B802327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8E007E-70F7-4BED-BE54-ECF192DDA8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2B1D21-B0CA-4168-A998-5C6D522EB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920222-F6C9-40F5-96AD-18993B8018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7F84F4-178C-401E-81BD-8B72B8DC4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7E2C53-EC7E-4EEE-B6D9-DFF1C8036F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EDB822-DD1C-4679-8B0C-A18531434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48C172-9815-443D-A2D1-722FD490D7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54B71F-15F5-43CC-BEBA-7E5E415E99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3795E6-7FC8-4E27-9C5C-6221831D0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6670E9-DE3F-42C2-8FA1-0635239F4E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68A92C-377A-4099-AB24-DB86251731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980BBA-30D7-45EA-B6BF-DEF8C391F0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A4A4FD-7D8F-4DF7-B158-085E93C41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DCC7EC-D058-4834-A889-BFCF10275C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7E94C0-9C7E-44CF-8E1D-E3731D5238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009CD6-0C15-4CF2-B1EC-407F56DFD3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9E8F01-754A-4573-8BBF-F87A01DBA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BA4DA9-C7E6-4F68-960B-A9DDF90240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6F663C-73F2-4964-B52C-460F286983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1D0650-6B0A-433B-90C9-66655C63A9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F287E3-AA9F-4B5B-A119-7B59185D60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4670BB-BC3F-4220-A0C0-C0F27C579E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2FDFC5-62ED-491D-B0BA-E5DC966403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252A78-1858-40A0-BB7F-84191B5DF5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DAACA4-2F57-4F01-B8D9-E58C7BD94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B35C07-583C-4A4F-A0EC-02883AB891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8D61F3-66BC-43B3-9E1E-BBF12B6079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FEC8AB-D3CB-4747-A8C4-85AA31CBA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2CE00D-0077-4E73-8A7C-0EFC8F8AB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2870DB-2C80-4920-9EED-FF2AB69926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D74BCB-FEF3-44F8-A643-927200B34D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F59117-FE12-4DA8-B9D1-61B5B75CAB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777B6C-465C-430D-89D2-9DC8FF968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C91D1E-C352-472A-8C8C-9A9364EA0D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CE68C9-BAE8-444F-AAA2-A52E697BAD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96ED60-3F56-4D62-B237-A522AACD86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230152-9E18-4577-8002-10564E26D1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1F78DD-460E-4143-A0D6-B622587A1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196F3D-E72D-4D5E-A78A-617D7D8A9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C890FD-8B0C-425F-82B8-845FE30653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653994-EA09-48A2-9D67-37D35D823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EE440C-A8ED-447C-AE09-5F2909AE54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FF6558-78C9-4EBC-91AC-489AD8AB75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83EE85-D30F-4929-854D-091CFEA18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F6F951-DC86-46D8-9CF9-3293D6B631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C40D07-2BF6-47F6-A7A7-B93DC0296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147825-3AF7-4254-834E-77B9752CA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41F35B-51F9-4518-87BC-9D8799EC3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CDF6AB-7826-4B38-BA90-1E696EEFDA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FE9AF7-CB33-45A4-ADA2-A808CBF258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924B31-23A8-4707-8247-859BBBDE47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418400-3958-4C09-B29E-EC7E7D80AB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69650A-DF17-4D95-BAF0-8ED4ADCA84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6C0893-1A4B-49E2-AAD1-700CDA40A9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90471C-95C6-4247-9BF8-38D4CB9CA2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DBDC90-0ADA-46C5-8E30-B4CADA4BF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7F80F5-959E-4191-BA35-9AF43AA8B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9A3D70-73F2-44AE-A5FE-8D8E0BB847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AEC553-4EFB-46AA-AFD3-98CD68CD73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FFE03F-4E2F-4A56-A464-4602DB52F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E191D2-347E-44A7-AA3A-1E47A61F00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D2CCF2-29C7-4C6A-BE5C-D65247DC4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E9D96C-AA55-4E7D-97EF-0DB722F80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958568-01D3-40BC-A425-ECDE305FB5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1309D2-265E-4D51-9C7B-5E4CF91D9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527834-0F9F-4606-A0B7-B32E7B96C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A58B36-D0D7-4EB2-9E1B-2421EC655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95144A-A04B-4B01-8007-3C52A5BDB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9510E2-6048-45D1-8F47-D05DF1AEF6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C01738-4291-48C3-8F40-84F32D95B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A1924A-EB97-48EF-B19B-7E776F8FB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74CD01-425E-4421-9A33-0D541ACE3D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74E879-BE65-4768-8EE3-6AEA7CE65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A674E3-EA3E-45DA-BFB3-A66838BE10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6751D7-73CF-49C1-96AD-DE3E7EA433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A13599-BEA9-4257-AEC2-13D382207A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221BED-B278-4DE4-88B2-3AA7FC001A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A924EE-8D86-4013-AB84-39813D7DEA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0647D9-ECAC-4EE3-B155-F79AE67A72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5668A0-FE1A-4847-A4F4-578E2CA3E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C5076B-2E64-41D6-8124-19B2FB4C3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BEC39D-EAA8-4D0C-9C79-DF158CC1E6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83B589-CBCA-44D2-BF42-592854DC2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DA3D97-9CAE-4146-875D-B6B370D27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E5D2B2-A33F-4BE3-9344-44F1246EC7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0FC251-9D8F-492B-8B14-8C46C28A1F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127F4F-33E8-4777-A68F-8DC5B21F8E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650D63-904D-43FA-9CC1-1414FD5A8A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99D89B-8CB6-47B2-A53A-353D28B49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C0B1E9-5078-41A7-9AAB-F7ADF8A19A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7E741E-C9EE-4983-A666-D3DBE7753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6A1097-9EA2-463E-8BE4-93DC47E7F0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983BCA-1710-44B7-87F2-8BB1E5A8F0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AFA4AF-3FFC-4C76-83C3-154C571713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E0FA66-1D1F-4969-A4C9-1CEFC1DDF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BB3868-0171-48FD-B0FC-3A5FDF8C82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60212F-1D29-465D-94AF-75F320A50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BDE1966-77E7-48DB-BE86-2540FBED59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CBE2BF4-AA5C-44D8-96E8-4711A1E016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425BE35-9E89-4DA9-994A-35476C608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36AE232-90F8-4E30-85CB-28C3B39EC5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FF90F1B-540B-42A5-9B79-A025051C0F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F7AC6A5-B742-49D7-A760-2A1F5D99C0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BB9FC7C-6F80-448D-B5A3-22B7F8A1B3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74321A3-A78E-40CC-8918-87EB1E07D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A21768-D676-46A5-AEE1-4FAA8F30A5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93267E-CB1A-41F4-B7E1-363E189F03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F9A09E-7231-4BD3-BF0F-D8EEBAA49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9418DE-31C4-4487-BA11-51E744A3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9C968D-068D-4DDC-B9FF-7ADCCD3F2C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6361B5-BFB6-4ED6-A3CC-2A059C6D25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9E08EE-A707-472C-B682-F04B89408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46CEB4-F020-498D-95D6-255330297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1FDDDC-CBD0-4D94-9599-5BFA699F82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93B34B-B387-4A02-9A0C-7E7965D4AF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14F66B-4B58-40B1-BD8E-9A18185C8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4C68C7-E0A4-4643-9FE0-9E0729A3C5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71A7ED-351F-4E14-BE58-C9B7550C38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264E1C-7F9D-4164-9B29-DAD1BC9AC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93BC0B-09B9-44FA-B07A-15BF724D57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75B940-EF24-40EE-971B-418E1C270A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C52051-8294-4791-B714-62BBCEF21C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DD128F-88FD-4C6D-ADDA-3A9F12525D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F0DB6F-18C4-411A-A3FC-BECC60F11A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A0F388-E8D3-4854-90E9-88D32C6F2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28AC12-A861-496A-A5FD-608466F285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901897-017D-4726-A1DC-A9A09CB19E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5D8D24-5EA6-460F-A5D7-FA19140380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51F951-356D-4578-8177-ACC4A26D1C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BE0123-F696-4418-AA2A-01C4B39458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A0994C-ADDA-4DEF-A346-BD0AAF3427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278890-F9F2-44F9-A71E-7E306CB098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35251A-FC04-4414-8BCE-CE42575C13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E6F875-CC88-4294-A3D3-B4F2E98F7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4D0DE3-A8BA-4AB3-B602-B1508636B1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449F29-2306-4C8C-BC1E-A61046BB5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515457-46E0-4C93-A2B2-AC75FA21B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654415-7829-46F6-8929-8BAC3E1100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1B64C3-9656-408B-8232-9CBF8BECC3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8314B7-3D49-4168-8C6B-5DEF1E367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7B1FA4-6FA3-494B-8A62-DD34609BA4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D4574B-F41D-44AB-B570-434642A6A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D2AFE7-8627-4CB8-8275-6FA38B1B69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49718D-D132-4D22-8AB1-630CCAB108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D35C14-FB33-472E-A50E-B3970F48B7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380FF2-32D4-45C4-944A-E293FEA4CA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8018CD-993C-406D-A6D6-8C845D6B94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E2E253-956E-4B36-8DE2-0B62512F9D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15D7ED-BB2F-4341-92C1-10739FAAE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35E8C0-FA54-4884-8B3A-48E325F84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D1CFF1-6EB6-429C-A70B-310F6C4EE5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83D994-330A-4C41-83AD-6C4692CEDF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C33D6E-E456-453E-B24E-976EA68E0D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516EB4-F3CB-4FE3-A8DE-796EF935ED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153934-15CB-480C-B59A-37F4BDECD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950B0A-D7AA-4989-8CCD-1007438C7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965413-2BCC-4441-85CD-46DE7A9DCF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489169-119B-4593-AB2B-5E15D270F6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B8B7F3-BDA8-4AEA-A67B-630289A74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76FF3C-DA87-4B21-9886-BC1DD45246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91F167-CE0A-4B84-B4E0-A2EBE079FD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BAD78B-8BFB-44C0-9E88-9191D13D28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DC315F-72A3-4D5A-97AC-877920333C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970728-7ECB-400A-9523-FB8350E1C1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B8FCCF-D8BD-4D20-8929-97AEDE4867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BA39FE-C5D4-4BF7-B060-5D855C08A5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701AEC-5A1E-4F9B-8D04-7146139212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6E37B5-F45C-4388-8DB6-EF57C6AC4E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4DE978-44DE-430A-AE7C-204B118B6C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97E47D-8880-456A-A2F2-CF63D490F3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AD86BB-4A1E-4729-823F-AFE127362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8715AF-C3AE-4FB6-8A4B-E6D069FEEC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78FFBB-78B1-4290-A59C-85B06D1B5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3A7A3D-9349-491D-A49D-802D99E7C5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0AD492-08C5-41F2-8C2A-212F92685C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A08DC0-82CF-4A9D-B2F0-A5E0F50A92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CB7CEC2-8C2A-4F72-879E-3A3D3F893B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670DA8-3D21-43BB-A248-D1CECED63B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2EC8B7-34D0-4AA3-B29F-0F36287E45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C445C6-C3EC-49A6-9FBB-EA4174D87D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F79B9C-AD32-4E4A-A98B-D5A5D6B982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BFEA75-8DCC-4385-8D46-4EF7928931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D4D3C3-92E1-427A-BD63-6FE97773C0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7DE25C-2731-4DDE-A7B2-D149A750E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11AD52-D0BA-4020-A5F2-1A6911951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AFD28E4-372A-4B10-816D-74A2D58302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DCFCAEF-231B-47C5-AFA1-C8D820A44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732CB07-C5EA-473C-BBAC-18BDB59222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5353B70-78E3-4301-9F97-99A42683B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1D9E2AA-B89A-4CA9-8149-175B8270E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5BD6C6C-41CB-43DA-A69F-4CD8FD3C2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745DDA4-121E-4B3E-A28D-AFAD259B0C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D13CDB9-6AB1-46A4-A690-DC0A0E97D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054F59-40EE-4E53-B5A6-A52DFE8983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6D7970-36DA-4673-A372-96BB0FEF5F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D55767-47D5-4A85-A430-09555CD5D4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02654B-3193-4AC6-91A9-00080B64F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3621A8-01B1-4D5B-9FD9-AEA1BFA4F7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871878-4715-456E-B454-68DFBE159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AD38B5-1723-48C2-835A-19700C006C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9D739A-AB3E-4E32-AB79-E197C2861C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6951B9-3263-4373-8503-73C2A5CB17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3FCA1F-C356-43A9-B03F-64E8DD4CE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FAC6D8-70B1-4EE9-A4E7-6F16444650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0988BF-76D4-41A2-8E79-F86DA77A5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ACF233-7E93-4FE1-B843-9A652C6DBC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01E25A-7119-485B-A065-2CB91CA8C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9F42CA-D93B-4140-BF87-E197760662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C2D19E-6192-43E6-9325-4F4AA8900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683651-6CA2-414C-8184-F5D960321A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F40BF8-40A2-4501-85CA-E98154EE04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79C945-1234-4F2A-AEC6-FDAC39385B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0A520D-6A2D-49CE-AD6F-BD98D731A7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BDC519-5FF1-4F16-8BBD-F8A3B72E24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D3B3C0-3F70-4FCE-959E-9534EA801F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1DFBAB-AE62-4045-A81F-0F0B1A3C0F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E3FB06-886A-4739-8D22-AB6CBB793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FE88B8-23AE-426E-8832-8D817B32AC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D7C9D4-962D-487E-951D-78F2042742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C834EF-A6D1-4576-97F6-21EF8427F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169359-386B-487D-A3D2-030B3B9204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39D20F-CEC3-4EC8-8ECC-8E9C5F063E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DB088B-6597-4732-A69F-05F2EF183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455EAA-29F9-49A7-B554-37B8F74304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A0BD1F-895D-47A0-8A59-2B3F35F3C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5F8E19-8DBA-4DFC-ADA3-E746F716C6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1CD83E-5DAA-4FFE-BA9E-8856E05A7F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CBF427-8F9B-4E25-B905-D09DE95763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D46897-7EEE-4FF5-935D-9FDFCA975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89E7F1-B3F3-4041-906A-56AA260A0A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D8D872-F078-4595-A96B-9CF3B5E79A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820A5F-D082-414F-AF3E-98F2631AA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CF1DB3-C40A-4AA1-BDFD-E38A1A6DC6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2F68EE-0E2A-4885-B8AD-577DD60019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D8628E-65DD-4584-9039-6851B7D245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B5BF00-7714-4ED1-8861-1CD0A99B81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FC135F-4025-463F-A6A6-8AE1669EA0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7FC1979-407F-4306-BFAE-BAF5C9624B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D7D657-C9D4-4AE2-B619-25B810E573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E64CE9-5851-4A07-AA9E-D26B1DE3AA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C64158-4D02-42C5-8EF4-47CA50F4CD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F518E9-35C5-4FE9-A00B-1573C191D8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82412C-BD8C-4900-949F-48E6D639B2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F378E5-F437-45B9-AA23-BCAC5ADF34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FA4E6A-64A9-431D-BF4D-6F70470993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9A1CBF-BC7E-43C1-9144-CA2CAD5721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505401-76CD-42DF-9611-E26CC3FED3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BB0F35-82DF-4A5E-9C2D-CD965D6228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E2BBA6-733A-4F18-BC9A-EB881EE86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DD0706-02AF-434B-B90F-8A1C68893B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49B17D-4C69-4313-AEE4-81B4699D4C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44814C-D2E3-42F5-BEF8-A39204ADA6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CC20DC-C186-42B8-998F-E1B0169044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689615-2313-49D1-9074-61F3A6F261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014374-718E-4CA0-817A-2F11720F2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3E12A7-ACDD-48B1-B329-82C6B3B515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BD8B03-D5D9-4D91-894F-401E9ED991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1E76F2-4B14-444F-B4A4-5643479621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1E89A2-5199-4505-8E33-92268CB72E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22265D-3BC3-4841-B17E-DA9BEBA9BB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1B2397-4222-4664-B464-BEDEB711F4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3FBE58-64DC-4961-A2DF-466B8A993D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E8A9F2-85E8-4B38-A346-FDA0E1B81E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BF154B-BD61-4583-8DE0-25F99EEACD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5C2F3AA-FAF8-4935-894F-D17B68C043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B08B18-420A-4FA2-B2FF-823BCA8C95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17CBDF-EB2B-42DC-8729-1FDF42B12A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97AC49-24DD-423A-A88D-5B28C5B2CC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77F3D9-D357-4DCD-A750-6945087309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4D9F7C-EC5D-4683-ABA2-0739C0E613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D320A2-5309-49B5-BA04-D211EE21F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94C8D3-80A8-43C9-89A0-9943F8DF9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CAE80F-8945-4E45-B8F6-9CA3310334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A58838-E1E7-4152-B880-970405BC17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01AA2D-1CC0-4EC3-8249-2D7BCE1A4B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0E2603-7313-4150-AC4D-1D19E3F891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A3E99A-AEEF-4732-81EB-B6ED6514BB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42643F-AD8B-499A-90ED-2818831BD7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FC7DF8-EE45-4563-9603-630E1ABC75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D692CA-031B-48C3-89F8-94B41F4BF1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017973-CCD0-43CB-8022-2FEBB5B79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6DB7C8-E2A4-4E2C-838E-731F7035C3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FA66B2-8691-4F15-836C-54A43C4036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9CC94D-3597-4715-9AA7-5FBC75C980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2F6B3A-309B-4AC0-8A3C-F07CFCA073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7C0240-402B-4A13-8789-777420F29D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9A3DC0-A2B7-4BDF-A7EF-5C1258CE8F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1703AB-9446-4030-8344-F94D3DD287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33E0F2-2A04-436B-830D-17F635ED09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7993FD-8C22-4B51-8EBA-C58FB58355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A089FB-B008-4933-8966-AAFE135D75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3A04B5-E117-4783-8981-C5C4CC595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5C4A85-06BF-421F-8F91-E3E31E59EC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E9AE47-FFE1-43A3-AB8F-7E538A8DCF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3E6875-703E-42EF-856B-78EA0B1EAC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C75CA6-B170-4D90-A91A-333021648A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44C521-AFAF-45A9-925D-8082C7F578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4203C8-3695-489F-9B0C-9984F98E04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EE621F-1B78-461D-BB20-13F018C81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37C086-53F5-4C8B-A69B-6D4300B420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EA28D5-9D5D-4591-9744-919D15C4A2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F22E32-5860-4651-B2DE-3BB44244BD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F10BF6-D1E0-41F3-A9F3-5C407FB6A8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40A621-66EE-4E5A-A6CD-F35449CDF2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531970-6657-4534-831C-CB8E377214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4F8F04-3B3A-4801-9852-18A0460D52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B53CF9-4A7F-4E23-891E-A54989AD0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3DC434-6C0B-4433-A45C-F9AB0A3D3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177CC4-AD8A-43E7-81FF-D17E6215B1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2C23D3-BF55-4FF0-A3EC-3D19D83E96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CF0C17-2DC6-429C-9D20-E63A4692E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624CD3-B266-477C-B057-49920A0578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582408-351E-44E6-9311-F396BE964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128C46-4AD8-4B37-9A48-1860BC4BF3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1B5DA6-7EBA-451D-9B28-AD3CE93A9D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AE5FDB-1B23-49CE-BE3B-F0E8154CE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5259B3-A16C-4CF2-B070-4B5975FF29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8393E0-1B13-4C7E-9F70-5DA4743A16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23216E-32CD-489D-AD82-D38E124E4E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040502-60A1-44B5-BF86-0744C64CDC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A00CB4-4743-4D78-890B-1EA5984B8A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8B93CD-9C36-46FC-9E66-11ED96D55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F5E48C-3BC4-4D17-8981-4B701B1E1A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9B1F06-D1FE-4DED-A269-D393528A1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75531A-F2AE-49CD-8778-1CDA16ADC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FF40C1-62E4-45FD-87EC-770438BF3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F620BA-5D82-41EC-94B8-E9F6CBB00B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61AC2BA-13A0-4257-A8B5-8E86354E4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9774F4-8262-423C-815C-B877508666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B9E4E9-E613-448F-8AC8-8AA6A75C54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F8872C-D239-4BF3-8AA6-C978F7EC5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0F0B9A-8A27-4FE3-BA64-F97E6A566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4B044F-2156-4B73-8459-0C2E702AD8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C5B235-A77D-460A-AD31-757287C79C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EEBA71-2A65-45C0-BA28-0E6DEBA298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05C531-05D7-4F07-BE15-E2E76322BE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7A64CB-C990-45F8-B429-84CD88991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4046C2-7F89-4328-951C-49E253C95C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C97988-90FB-4293-B6C2-A6F8C45EC6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807A09-477A-45A1-96B7-34354C0D30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EF5182-B57B-45C6-B1CA-C94615F41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D196CC-4E44-41EB-BACD-1AD1139A11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D0D110-A4E4-459F-B46E-F802BC2B4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69FB34-52D7-4969-810F-84A5848A60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974D2B-A51A-44FB-B51D-C25F0F8015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A254B7-0FE6-4C4C-89DB-355247EA62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D083E4-F30C-46EB-9A17-EF2F5D6FC4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F1EFA0-095F-421E-A16D-DEEA676C01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43365D-54E0-45F5-9136-01C300920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D49636-70C8-4B04-8D59-DDA6879872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83FCD8-3703-4997-A763-36A0115053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8E53AA-24C2-465F-97E1-95E0AA1543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6B2AC7-2C2A-4381-93BC-6444F2735A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320B93-0750-41CB-AED7-F8E73281C7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AE104B-1B71-4C86-B4E7-C8805BDBE9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083859-720E-482D-9E22-0AD694EE7F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99F5EA-9C2C-4D26-9CB7-BCFD32C14D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480502-EAFA-4D11-85BF-1CA9B4405A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9C34B0-DD2E-4481-87DE-1596C4CB56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DCE1BE-8676-481A-A8B0-7AB23AE9BF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A39FCC-D472-4265-9242-4E5C5B2E9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ED6B48-B3EF-491B-BE17-A286DED49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F12B0D-8D36-4275-AB72-8F1088A24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E31D9B-6E5E-4118-A2E3-0FEB8BFDE5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BD8471-9052-4B9A-9079-1D7FD74675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3749AD-1540-4756-8790-941006426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F3CDB7-9E33-4D60-8CA7-1E22A60F1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4B03CE-09A7-4B1B-AE01-3996A25009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16CE91-ECA1-4D06-9B1C-4EC884FD86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3C4535C-EF72-45A1-AE18-DBF970329A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385E6BC-EA4C-4D0C-A29F-5F0D4844D9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09E47BB-1616-4A5D-890C-B11893F18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F936EAD-6AE1-40EA-9810-13667D481F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5C51F79-8C49-4BA8-9C35-BBC98DA7C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F3FF345-C714-4A5A-9F58-24F1B372ED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0DB6FF4-A725-404F-BB68-CD7EA288F8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AA332CC-FBDF-4C8A-AEEC-22F32D7187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55FB61-B32A-4E0F-B8BE-48BD2419E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9EC7C5-59B8-49C5-A063-D76EBB92E6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94DFD4-FB9E-4786-804C-10AF2BF7FD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D0FA38-3FE7-4303-8AEF-ED7F4B4800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0E8988-1887-4766-B99E-D66433400B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3E5EEF-D49B-48BF-8D72-C64C628188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67B7D6-F571-43FE-A7A6-462351E73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FEDCC2-67D4-4EF1-8629-A7E4109570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11431A-1497-45B4-8EB8-A01ED0B6B0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F94743-C728-4B60-80DA-2BB855DD57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E37AF1-EFCF-46BA-897F-C66312D7A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B05BCD-D56A-4A9B-8AAA-79BB17F044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9B0EBD-BABB-46BD-8F94-113520BF70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ADD699-5E98-41DB-9076-5C262E952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CDA1E3-5B80-462D-A656-E177F321D2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FF8A86-C98D-4F3F-9872-6CD59CEC51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4916A5-0CAE-46E4-93EB-FDBADB0418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8F5D93-C948-499E-9049-621098E009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4B46D7-015E-47DE-B72F-90564F725D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8D0A63-5EAC-4B11-8BAC-48F4425EFE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D6AD96-CFCF-4B5C-8B14-2A9D64414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A8B5C1-C2DF-462E-86BA-49A497C7E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4023BB-B901-4521-89DE-F56D41D4C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418215-FE80-42A2-84AA-A314123391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4885EF-F520-4950-9D62-0C918F9CF9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98A9C9-2CCD-49B6-8CA6-F102C08ADD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DF3E8C-A7DB-40BE-BC00-B43A780215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EEC6D4-11B7-4C9B-9E75-0260B5BCC0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904564-E47B-417B-8235-FC322E13E7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6AFC35-E110-4569-BFD2-22AD0D48F7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776F1A-D17E-4B27-AFF2-7639C9763F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1131FB-9C1C-48C8-BA8D-B507F1205C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95F430-FD9E-4433-9C08-062B80F968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2C35B1-138D-4BF6-8CBD-5F7CFAE142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D87345-4AB3-482B-B690-2D6EC8195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8996D7-CCA2-4629-B635-7B08B0D79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E7A52B-8B2D-4DC5-B78F-4B2F5A8DFE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FE8728-5D47-4073-98B1-68A2DEAB0E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3E9D7A-0301-4F5D-8CF0-98098AE4BD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48EE42-E7D4-41D9-BA38-49B49399A1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2A525D-8666-4574-B222-E870D67B24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2E4E5F-9424-4073-8FC6-99B347FB8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D9E400D-0527-468E-A8EB-34A8A88E12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1AE21B-121C-446D-A8B2-01D7412A42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B3F61A-FAEC-4A65-BEF3-94D837CEF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3DFFD6-AC0E-40A7-8CF5-5C5BAB6176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35A084-8AD8-44D7-92AA-4CA553C3EF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87A1D5-A352-4684-89D7-873948689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E41581-113E-46B2-A682-E489994172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72A1BF-ECA3-4264-9978-560ED5E429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540AA7-17CF-45E0-A555-54EB38C527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535843-DC20-4065-AF13-7B7782B04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2D0884-F9A0-4A90-A7A7-6F05E67179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1A2D24-CD13-44C8-9105-61B9C2459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A74A31-E28E-40F7-AB23-D17B3A4874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785B7B-BA93-443B-B58D-08CA248927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84C1A9-66E6-45BD-9013-EC5BF455C7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2E1F45-2144-42E8-B114-DBB26F3144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CA85E3-B321-42AE-A5C7-88BB100760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EBD5D4-1C97-4036-BE3D-41290E917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436337-F6B3-45F7-BD22-FA6BB285A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3A7B5D-6D01-4117-9B20-51C3B72BC5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BD873C-F2E1-4977-94DB-169312E9C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CF1536-C87D-4489-A6C9-FB98003B4F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5EDFFF-4253-4BBD-A6CD-45F9A9A2F5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940F3B-4432-423D-90A6-367CBC578F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0A18E7-4D14-4629-B351-5B56901D76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2F3626-210E-4086-A7FD-6D77300D06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9EFB5C-0F9E-4AC7-ABF1-F530005CCC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BECCAA-34EC-4707-8264-EF5EB0727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4B04BF-B3FC-4090-BE0F-BA21DA06FF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4BBDC1-CB71-4FEA-91C3-E4AF723BF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B961BA-2AFE-4247-BFA6-254052998E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419C31-FDCF-4CBA-9938-0AFC26EDC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C044D6-773F-4B16-989D-A4DE182D92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75F97B-A189-4EB5-9212-E6AF52FDE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B3C4CA-B8F8-4435-9A18-64805D4F52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2A0EC1-8F75-4A43-BA62-90D18581A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99E087-B8CC-44C9-95F6-D702E27329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B030A5-C8DB-42E8-92D1-43ADEDC26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1A92D4F-39FF-4469-82CE-6387D776A2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8E06DD0-A818-4D8E-9DD6-8966A8E93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A0D608E-52CA-4C7D-BE61-05D3E5531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30ACBFC-CC6B-4B6B-9318-24709CC08E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15A0EA0-34F9-4FB8-A355-257DDDD8F6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C97B49F-DA1B-4BF1-9A60-4D84972E00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9CB6188-93B2-4051-9363-F73976BACB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1CFBFE0-42C7-43C7-A7BA-5B8691E4B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1D1645-BC86-4FE1-97A8-F8C45F0E83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7E8321-4942-4073-99E6-3089D2DB3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9A3AD9-C184-48E0-ACA1-8B542E651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D83291-0228-46FC-B106-AC1CB1B08F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9FB12A-D4BA-4A0C-906D-A71B67E751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F215BD-6B9A-4697-A68D-99D33BA4F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95CA02-2A8B-470D-A4EB-606171FEC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AD1A42-15AA-42A9-88FA-7F2DF66A7A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8EC1B1-B95D-4015-B505-4FED00DFDD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19422F-0C95-4E54-9EE1-74AD9AE2BD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9CF01B-186B-4DFE-9604-1D6B837AD0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8D34C1-C5C7-455E-B259-5CA8CCA73A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BB3281-3264-4B15-99D8-FE2964C68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E57C48-CCA4-49AB-9777-AED697DC01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723BED-9287-4740-8211-4D20BA2F4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AC1D0E-C806-49EE-87C6-E010D77B86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3E0F22-53E5-45C6-98F2-B2CBEBC71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66939F-80F0-4F3D-8F55-5F0E2279A0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575619-2233-47C6-B3CC-5D01F0D69C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E336B3-EABC-4E5C-BBC0-82EE85092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F71A48-2ACA-4A48-8974-DE060C9C22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14046C-9A06-4E2A-A3C8-CC2B145DB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7E10BF-E777-4FEB-814A-B7CACB3274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1A1C62-6F6B-4307-A920-60A5B9982A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F9E944-7999-421B-8F6E-AC59551BA5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48EC8D-5172-48E6-AB53-FF463BECCD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AEBB4E-CD2E-4839-A1E0-38B0448596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50EA78-5293-43B6-955F-008F899FE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6C5B7B-AB5C-4DA6-A8DE-C5C6E963DF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CF16B7-7E9B-4AC9-8A0E-E12958D7CF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321C04-6EA2-472C-A8A9-D497D85B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89A1AF-71AC-4EEF-B797-996D2576E4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853601-597B-4BDE-A29A-7B9F924A4D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564FC8-532B-4A60-B6BF-D9DBAA9ED9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E6655F-584A-45E1-B5A5-632CB87765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9E3555-9245-4AAC-AE01-914DBCF76A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3599E2-832E-4412-8C69-A5877E2B09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F140F5-ACC8-4DC8-81E8-3DDE2A4E4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4198B4-FA32-4B51-A2AC-2A43BE22D5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461B4F-8F2C-46CA-9924-C784DD48C7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F5DB81-CDA6-4280-95D5-0D746FBF94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2D6B82-B93E-4FCC-B4E1-75876FF255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0B6EEA-0508-48A9-BA14-5514FCB8B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8E4AFD-3E5B-484B-8E29-41C1C25518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6B85CF-9C98-4B36-BFEC-777719AA3B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54690E-5CF0-4677-8628-F143B727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38B99E-5F0E-49C8-B201-56ED1AC747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5FCA1A-FC7C-414B-9A24-0188079E61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08333F-0049-4FB1-9EB1-7CE6AA88E7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8A1CCF-8BBF-4982-8E98-D5C58D56C1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59D1E9-6873-4EE4-A685-C55184AC05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C38930-32CB-4D0E-9FD8-E3530409CD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5785E7-7466-4947-A334-321980EE20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1C0CF8-DA01-413A-892A-50BF235FE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5E786E-007B-4D93-854C-5445CEB8AA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407A67-594F-4F19-B681-320AA6B50E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A96D30-87D2-4A61-B42D-DA23584D5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0DD367-0E38-41B8-BF84-6875256EE1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FB5478-4567-4F5D-A065-159A0D09AB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56409A-2F6D-4C2B-84AF-F403BE00D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2A1579-A65A-4AA6-896A-FBAF0B061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C83CD7-C14A-4AAF-A23E-03F58BF0D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E1A6EB-BDC9-451A-BEEB-2777537AA8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6F458E-CA29-46F2-A1FC-1DD93F817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2523AC-F2B0-4D93-9B39-005CE1A6ED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F78021-762C-4F69-B773-0D7DB1DB3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B1B40D-97E3-4626-80FA-2B5C55E1C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D63941-32F2-4BDD-8F5E-6F2632B881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E24DD1-E519-432E-921A-8872817D14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38AF53-2A7B-4540-849C-52ECD61E0F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DBC04F-D477-4398-BC04-EC0C2F69C9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A2C5B3-2BEE-47DD-A6E4-3873A43696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5E8FD2-D744-42FD-B68E-2C3FFE640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E5A4A3-3B52-4E11-84F6-58EE68F1AD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9AD9F4-2E3E-4691-9A6D-B7543BFF00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2E75E6-1667-4EF6-BDC5-36950E70FD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AF60EB-5B31-4FBC-A72B-2C9089F8E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15852E-EF4F-4C03-89E1-FCDF5750B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BA1294-AE80-4654-993A-309E44DA8D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310352-9294-4093-915D-53899DB1AE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CA0C02-13A9-46E0-A7DD-F463EB18C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B2B162-BDA6-48B8-82A0-FBEECAF3E0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1EA021-0A36-4BF7-BA95-33F5531A95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13F34D-FBC7-4A9A-A47B-CF2C37162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DD1261-1D2F-44BB-9BB4-AD1E52494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F5820D-4F17-4844-BC52-C723D8BDD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322445-4058-480B-8B8A-81886D571D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F9B272-4BFA-49AB-9D7D-0CB9CCE88F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B5B020-1DEE-4EE5-AB8A-AE340785C0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9D6132-74EC-439E-BC7B-17A224EFC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53F2FA-E1F5-4C31-8AB0-9DB0919994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1EF2AA-D8ED-40E4-BE97-D93612B6FD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995E2A-7B05-4FFE-AE98-94700CD2C6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B89F4B-A9E3-430E-A8DB-17799CF84C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2AA5BF-F5B4-430A-9A13-69B7F85BC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BB26ED-2239-41AC-859D-2EFE0F01E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99CD91-27F9-4CF2-A23E-99B6394542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8A9E32-DD78-416A-8E81-CDBA0EB666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B18CA8-ED24-4BFC-A800-A860E7990A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297404-9885-4E6F-B085-90482B7C77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16C622-C78F-4DDC-9E64-C7291D5B30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1537A4-D08C-478C-843B-86C88BE0E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CF3DF4-6F79-4B41-9819-1B96333043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A89814-BBA5-4E55-8A93-42C60A4B0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F2B474-73F0-457E-B97F-864E1B7BCC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8AB820-8866-475A-A4EB-57D8AF2AC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99D5BC-56F6-49CA-93E6-E23AE08CD6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898270-5554-4022-86EF-73FAB95A06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B8BD31-38D6-49B8-8176-D2869E7A45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4B270D-7622-4AB9-8330-0FF72098EC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DE1AA2-434B-4F55-8DD0-361401780F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EBDA18-AF2E-4576-8E43-D9C59E0E4F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B673D3-06C0-4FC3-9D2D-EEE42506AB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81FF3E-1111-4354-BABD-AFB96B7F78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4D465B-3F2D-4977-865B-92A560FBD5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35B317-B6A3-4F0B-8177-E0916B4241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FC705D-1415-46EB-B4AF-419D9AB199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41337C-71D2-4994-B4A5-F579B3715A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3457E1-3652-4A7B-B8AB-B303011D9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20D1B2-22C8-406D-A3FA-C4C76FA9EA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4E3D07-6E1E-4C4B-A33C-C2747D3C8E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86A2BE-817E-40FC-87C6-2BB6C0D06F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21136C-3785-4C9D-AAE2-940B60A760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D22E4B-87E4-4FA7-94A5-B70AA6FC44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8426BB-1708-48A5-BB69-103DD36698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BA26A3-1AB5-449D-827F-15CF00A08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A587F6-04F8-452D-8DB4-3E914C29D7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B3383C-2A3E-42BD-A9F2-99E44E3B76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1C361A-DC61-4C47-BEBA-86C79A6C2F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023BC2-3974-40E3-BA7D-9B0E436E4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8D3693-1B3C-4027-9B81-2C870C0679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B0577E-E6A5-4910-8ED2-A0D9EA1C0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CB5187-DAD3-47EB-A4DD-206130BE8C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6105DA8-A0DB-4FE7-92C6-4D655B651B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43BD14-C290-4E1F-9620-4138B7D04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9C1A5F-CC93-4CBD-BEB6-27482F350E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BD1FAB-8286-4844-8631-3CFB8534B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B0C664-5B4B-453E-9509-FA08E67C8F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D474B4-2402-41AE-9490-62C89CB011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E426E2-8A6C-4324-88B3-673078CB57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9B39A7-494B-45D2-8FC1-D8E7F7882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BAC82B-3363-4292-9829-AA077F21B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6195A9-50AF-4336-ACCE-E13FCCB6D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204D51-B5E8-4018-9EA5-C571727577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E1DCBC-68CB-4365-A5EC-C803356D0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7A4066-3148-4D90-8FAE-BA5FF826A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FFD60B-F50F-4041-B084-3308CB9D1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D2915D-02D2-444B-858C-4F88EED46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DC7A41-110F-4008-89D2-C7AB798854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EC466F-6F11-473E-A5A3-24F2DDD65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D0C267-F8C7-4746-AF52-08323880B2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9AC9A5-C36E-450E-8756-6D5A733617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89DC56-9056-4334-A8EF-71D57FD7C5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FB4F8C-CDE0-40F0-9E6B-5C99A5DE09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D72E67-ECF9-426C-8FB8-3F8CD8C54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F05F5F-C671-4AD6-896C-DDA196941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F0F128-E6B2-465F-AF72-C6F9C3005B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E5110B-0AB9-4ACC-B657-881C7BCDC0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46CD95-5B2F-4F2C-8EDF-C9066D98BC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C4DB45-5A7C-4CB7-B751-09837DFDD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6B83E7-C566-43AE-B323-EC5AEF1583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7086E-19B4-41BD-858C-AA25C7578E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8665FC-5D12-4006-889E-00EB309EF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1F2EF6-A09B-4C4C-83AD-AFE45AD59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CF8F95-6DA3-4786-9C80-DE11D9B02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466491-145F-4CEA-9134-7D3C998772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FFE9CB-3900-4C99-8201-E432AC0B2D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5E20F4-B3F3-4FDF-A402-B01A16D1B8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C2A3DAD-1526-43FF-A9A5-408E6F3C76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D010068-0B12-46CF-A380-4936296C6D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4A0C92C-22AC-47CE-AC80-508F0C5E65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DD2BE5D-3962-4E6C-835D-A7E00E2935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0766160-963B-471F-BE58-8C86D5981E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5D17356-764E-45C9-A061-D82FC601DD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F920501-89E2-4572-B33E-7E3BCCD123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4E06980-1053-4306-AE80-1225E8914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E58FB8-341A-4521-9EF8-6B874EEDAB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554B6B-0778-46A2-A55A-26D069106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94665C-BE32-4583-9834-97B9C7D0E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F5765A-942F-46E0-BA39-B244A8C1E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DF62AE-BAE6-489A-B537-60FFE6C41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1E844B-0016-44B4-BE52-146C73B76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14B89B-DCB2-40D6-9481-70FEC7C7B8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6FBA79-D1C4-495D-B3ED-D954F79FF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871AAF-239F-4BED-B625-C6326F43F4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30DB38-1458-4652-AC9B-435B8554FF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DF654E-C071-453F-9362-860890FA13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7DD838-2DCD-42B3-84E4-A15CA25765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6B72A1-D55B-4FDD-AD6D-A73B735D58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125F9D-57E0-4C8B-83ED-3C30EF1BA9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837A06-B968-4F93-B136-42388A501B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D96B47-0BAA-4C83-8CDF-9EDB6C38AE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E41EBD-99C7-4FD5-B10D-D655260B35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BA6032-82AB-4EF7-A907-A740EAF26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5383E1-C49D-43BA-992D-6D623EDFD2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A437F7-D1E1-49E5-A071-B9A00AC405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3ACFB0-3730-4C7C-868E-7AA535AAB4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0F830A-80C7-45BD-A286-FE636FDBD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4D23E8-31CA-473A-904C-223E007D52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71D64B-5A64-486A-A46A-B28A076053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50B841-3AAF-46AA-9F38-4F20B62B2E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252B19-C0D7-44E6-941D-4A3A5DA336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83F8F4-5BD1-4E53-9E8E-3FA1433CF6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8A5A8C-1B5F-44AA-B68D-B086782F45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9B7D70-7E82-42FD-8888-1FDB2C3DB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2269BB-DE32-4B25-8BD0-0AE7541BE0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4D6995-8AB8-417C-992A-118D1A01CC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C9360E-B00C-41B0-9D5B-FA8EE5ED9F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DF0BCA-420E-47C9-B202-2D8A57E2F3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31CF05-A036-4466-93B0-3156B453A4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F2B721-D203-45C2-8054-018C5E068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7F5EB6-3EEB-4FCE-A567-0FA127099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6405E3-5FF8-4F8A-851B-15AF587B1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E05039-64CA-400B-B705-44155A317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68196F-60B0-4419-8688-61A84CFE96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6F806F-DB7D-4202-97B2-B5CB281FE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BCAD71-ADEA-4B80-9AC6-BBF7E3D58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1DA2AE-1047-4CB0-90DA-2E51CEBCAD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16057E-DA6C-4B9E-95DD-786E23CF4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0B62E8-CBC5-46FB-89F6-3BB11040EF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B4F10C-8034-44FC-87E1-077F4F2BE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706A38-1F5F-40EC-9EB7-86B4909703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BC2ED6-5C37-4BDB-BF4D-06A8BC9CAD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6B47C8-8521-46DE-8B78-7CCA9A6A46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68D4F2-EA67-42CF-A78D-59430AE240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8A42F8-6227-4990-BD4C-68367068F9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0AF869-A86C-4EF9-A2A5-C88693EC8D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6AFB0C-6034-4BAA-B565-41660CDEC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32A8B6-A6F3-43FD-B699-4319C45244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DC84DC-DA5B-4BF0-9001-73A6A4E8C2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51008E-7174-4A16-A122-BEA360B3EA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D9DF88-5E2B-4598-A13F-AE8CF88856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9823FD-3B4A-4E6D-9DF2-3CC450BE8B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8E0276-A7C3-4527-BC0E-3A3E48AF28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0EC90B-ED5E-4D95-8E43-8C41692C0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C69CF3-B2C0-4B90-9477-AD1EDE473D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BC9419-8187-4452-9D51-A4F5421B1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00604C-86B6-466A-A6EC-D2830A421A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C97CF0-C545-4DAC-ACF7-D3956857D0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47FB91-48F3-45AB-B7C3-37511F2D37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E81DDB-23DA-45B3-8C97-1BC91B63A1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E16817-B0AC-4D2A-BF10-88277BFEC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D6AEA23-CAA4-44D5-8ADE-90A117DB37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D42D52-A554-4C5D-818E-EFDDC50F24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80ED0C-A52E-48FF-8C7C-E489833B6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741DEA-3033-4901-B012-3E86F6569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BA40DA-22EE-4A1A-B95E-B8488BBBB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56B9EE-28D3-4D3B-8B7C-748995251C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AD3886-87A5-4B8D-94D8-3EE91E32AC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8010B8-7E91-45B2-9D09-1CC61501A3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8C9BEF-C3D6-4598-A45C-975F61521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862EB9-36E3-4B38-A6D8-2A8C91FEB5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B1E198-CE8C-4420-AFBC-449C357B5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D8FAC0-EB84-43FB-BCF1-85BF36F184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0AB1E9-83E3-4C6B-AC36-5E588C7A3B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8A1BB8-D1FE-450E-9D91-10592C008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C15E24D-CB5B-4B0E-A521-FD7FAB23D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A13919B-86B6-40A3-9883-23A57811B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0AC52CF-B374-45EA-985B-BEB6A5DF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52F772A-8AD0-4AD7-AC5E-C93EF106E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F7C3900-DB1E-44DA-A29B-1B5CAB2F5C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51CC472-452B-47F4-9A54-C63F83CF63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6EF9B5C8-0C77-4179-A17D-B4B2993E77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5B0E8DC-84E4-4B08-BB59-286DAE6BA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E8A1D5-1C84-45BD-8399-A15E7CE3BA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409940-26FA-4374-A262-E2A3AD345E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679D12-501C-4C11-A220-8CF58088C1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ECACC0-FAAE-49B0-AFC3-CE6A7EFAA7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8EE7C4-6639-480E-BB6C-F29ABE647E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5A2949-312D-42A5-AD0B-B1AD1F4985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5C78DB-102B-4EA6-A469-B8047DE4C0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85EB5B-719C-4C6F-A4DE-268CE90B21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BBD70C-3D1B-469A-88D1-6E8DF1EE9B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300BDC-D77D-44EE-94EC-C72A8F996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7D7618-FD56-4133-83AD-A3B9B6BC65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F76B3C-CC30-4A76-90DF-BE66532D2A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B02D1E-07AD-4A92-9ECA-8BA8BC779E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779806-773F-407A-9E95-57BF1B84F8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79D75B-C5DA-4877-A127-B8E02617C2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3940F4-4DB0-460D-9656-C6BE0C077F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EFBB83-5AFC-4CB1-8403-DBB521907D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B3D194-C504-4BA0-9636-994BCDE3D4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69B8D0-46BD-4FC4-A31B-70492E8E0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30816D-909A-4D24-BB27-F3BC88423E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117086-D109-4961-B4D9-03A18A2B08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8EB494-E483-409B-B443-7CB02CAF6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5A38EF-5BBC-4CBE-9433-B2B68E8A35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4B6EF4-6085-4835-BB92-96807B8CC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F6F1BA-ED1E-4D26-9FB9-95F92BB394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296F13-BB68-4192-A7DC-D2459B39DB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793053-D664-499C-995C-781E898BFC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64F3C6-1D60-4325-A41F-56131D62ED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326498-17AD-45FA-B893-8A6ECCEEE1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106CCA-491E-4E59-8597-702E7A35FF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014A59-4888-4B4B-A564-8C55FDA6D0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94FEA8-0AD0-4B9E-ADDC-E3A96F7CE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46F631-624E-4A40-A207-AA6C1A1364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52FA31-4FD9-416E-987E-6303BC817D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6F26B9-0D21-4E63-B35E-B056DFFB4D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14A380-D70D-4692-AD8D-F8030F2F93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5E2A41-AB40-4FA4-A818-A6A3730A7A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53CB47-2C9A-4CCF-B2CA-1F15919A9F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C4B9BD-0BF7-469C-B6F2-02171CB3DB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D7282E-0322-4810-B0D5-830C18B4F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1C8547-3F5F-4A9E-9D95-38BB5950A2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47CAEE-B6AE-44A5-A7A2-716E80CE72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3720AC-8DA1-48A4-8E46-4BD71DE26C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D3F795-B2E1-48D8-BC10-C325255CF8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46DD9B-AFE9-473E-A91F-087D08D5A3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A3DD92-54AA-4FBE-9304-B81CF02A91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AC5284-479B-460E-9734-C444A9EFB6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6C1C09-B259-4891-8F85-A69385AC6A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FE1F97-F238-4B95-A5C7-E525C13A06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25C259-7F2D-496C-A666-722D042853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444136-C56B-4C4A-BB97-9098EC336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E9AE53-1E31-4FDB-8EB5-2F25D6EF7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EAFFBC-6ADE-4332-A8E9-37B236D612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E36FB7-00BC-424D-9A2C-5566C9187E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9E43D3-19DF-4BA1-B115-F9AD66F1C1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E61308-74F3-4FAF-BCA0-CBFD5ECF54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856C19-760A-40D3-8C62-95FD4F3D5F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27CF60-57EE-4C0D-809E-131EEA5DAF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D8EEDF-5454-46C0-AC17-21E35D6179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CD5FF6-4BCA-4D24-A8DC-A2F1F61857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0623FB-D45B-44A0-8E25-A7D19FCD07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733E8C-F4FB-41A0-B262-C8182621BF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61BD0C-021D-4268-A72E-B3B6D00225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AA182A-95E6-4918-BBB4-658188F90A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717BFC-52F8-4D4D-94C7-C1BBE1F8D9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823CD9-8759-4196-AE62-A23C126025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FA40B1-97A9-4AD1-8AC3-82258BFBAE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DCE33F-A083-4F54-A5EB-AC6DED34D2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3A4F94-BA4E-447E-A526-9202916123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E1DA54-1492-4C29-947F-E92688ADB7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507FBE-B431-4CD6-966E-A2D6A816EC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879BF9-45CE-4CB4-9AAD-D3ACAE5C12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D5C3E9-EAE2-4BE7-B6C8-0450BE7F8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E8BD6B-B3E2-4540-BDC7-36A9EE947A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D9D6E7-02F7-4B6B-BB30-1E9A985435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1C31C6-D208-4970-8A9E-301A5454E9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0E33FD-9133-45FC-8721-3AE56F6B13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1ABB06-37E8-4AAC-BA11-036A6F36EF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7B629D-C1E5-4FBF-B139-62F39D520E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664DD5-BB9D-41FD-9E5A-3AB677D881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DAD952-EFA9-4779-931B-60B653D601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61BE6E-16C9-4224-BE1C-51E8FF03B9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BA762D-8D7C-439A-B558-596B200EC9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66561C-0810-4D22-AD4F-87AD637778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174A07-B3E1-4173-B37E-B5425D8BD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D339C2-DF71-46E4-925C-158224F50A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D6FD45-6573-4BD2-AD2C-D6EEA1FCA1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AABEB3-4D02-4C13-BB67-D76620F937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4A676B-053B-4864-BAAF-AC02C898FB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F6D851-E69F-45F5-9CE9-802BEE4DCB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C7CACF-D8AE-4BA6-BD65-9F1919E1E5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4C6D21-55B4-417B-9FDF-D250F1FD5C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BBA13D-870C-426F-B36B-48EF5B1800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26435B-D8FD-46A3-A224-6FA81E890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ACEBD1-776E-471F-9770-53068AE746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E6375F-DDD2-4BE7-AE94-3BADB1215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95BAE2-6642-4B71-B8CB-59FCE1FCFF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199F07-4BA0-418E-8C15-BE7A0FE8C8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785016-DB02-4303-A4CE-2A7EC3D380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E4F212-B1E6-44CE-92B5-58CE64F887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E61F37-512A-4F3F-8EB9-82EF5FEC8B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2CA7C2-DD46-4A9D-86FB-95F513D9A6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5FC4A5-F404-4DAE-B3FA-BC7CBD9AD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2DB925-DE32-49E9-8362-6434C40B86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5F1F15-3E18-44BF-BB69-03FE22D36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C757C3-E937-4CDE-BE52-50BDB33923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E41482-C5A9-4E31-B4F0-5D3BAB1DB0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1E6FEC-225B-41FB-B4E7-7FA234486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ABBC56-E86D-4BFE-88F0-3319F942E1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5776B0-1836-42F1-B709-9F1A15708F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580139-B33E-4164-ABD5-F11ADF9E71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B1EAFD-3CAE-4D5D-8963-DD89AEC636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4CBE67-51B7-423A-B38F-9F1454BAF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6ED66E-075F-40A0-A628-EDD3E7F8A5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59CC9D-963C-42F3-B033-FA7E5460B7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82D100-A2F1-4070-8C7B-08730500B6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FBC9B5-22AD-4325-A24F-8C33401DE1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AF7A66-448A-406E-B962-0349AA1DA3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2388E9-7EC3-43E0-A4DF-F2AB38AE32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E7FD5D-9369-4CED-A8EC-8351989B4F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27FA36-1929-4BF6-B693-F3A0581325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1BBEBD-5CD8-4F88-A126-74EBCD963F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2C35ED-21D0-4284-8154-C85AED2C99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568BEC-A484-4BD8-A1E9-310964B2F1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90C24F-057A-44D6-96EE-6164AAF72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EDFD82-FD33-4AE9-9BB5-96ECC0EE13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AC00B2-AE3C-4AC8-917E-E5BACB6FC9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C5EB96-AB32-4A8C-BC3C-CCF91EE511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AD238C-9612-4B5F-9957-A423355F53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C00B7F-F2C6-4CC6-9406-8A4C249139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CEB6EB-BB69-4AE8-81B1-444CB48330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9F0957-3EC4-4EBE-8CEA-16A94AFB8C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33BC49-2747-4771-BBBB-0CBC25D534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E83805-8A99-44AC-8F0A-550CD4884F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DD795C-0778-4A57-A82C-2AC97EFC0D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228D7A-B439-43A9-94E1-7194BC4156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D7766F-E56F-4026-B9D9-ED19E016F7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2743FE-D4F7-440D-938F-7C22C4667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D99CF2-3C5D-4D9E-93DE-9D1DCA3152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DD8992-BED2-4B2E-A4F9-605D286B80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01F229-D6D3-42E8-9E24-E0A4A85CCB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9CCB9E-5DB3-4696-A8D9-20D3F01DFC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573219-4E7A-4D76-8ABC-4CF6EF036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A558CA-ED45-467A-9E9A-58DCEF2DAF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76B762-7584-403A-9C4C-BF404E1E69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A65189-2E0C-4E6D-85B7-5A9AAC813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8666ED-2458-402F-AEA9-D56C572A11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C17B68-A370-4A16-A3BE-89959E3204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58A62B-91FF-4A9E-9D51-FED15094A4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7A26BB-F22E-4146-A0FF-B8444D8806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76E1D0-C9CC-4FBF-AF5B-9426C1DDE4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D96E49-953A-41A4-90D0-72B00F5A13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0D8459-A2EA-44D0-BE08-C0AD9C2C87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4CD55A-F2F2-4E6E-A01D-BC5C70FE5C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58FD8F-C98F-4E5A-AA5E-E12DC66CCB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6B7748-5B29-4FB5-916E-4CD770E910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2BA35A-128F-4451-A713-DC749BFA74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3719D2-87D8-4BBB-A6C8-15BEF086BB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DA568E-0C82-473B-8480-B04B263D24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DF501A-CA97-44B6-948D-30302F7440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4185B1-A829-4CDD-8C26-E2BBFEDB3F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983D85-F42C-4665-96C6-8273140EA3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AB17F2-DDEB-4869-8C41-9635B6C378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88F522-3F2D-45A6-B6F8-F8CDD8AE33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0B0417-505D-4087-AC20-7ADC4E104F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9CCAD0-319D-4AE1-A47E-B8B8F8851E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4A5B0F-10A3-47ED-BEC6-876E15780A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CC5F1D-5129-4D86-B20E-46DABA279E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6CA3995-3271-4182-BD29-2395E1F2D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E1E412D-3826-41E6-A2AA-0B728273BB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06E6D89-538A-41DF-8271-21B23ACA42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FEC55EC-7F71-49B5-887A-53683094D8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1761999-3D99-4DC3-92C7-34243CE614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A6C0A8F-F8A1-4C37-A0F9-7F7EB10267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166B1E0-41D9-4C50-BB34-CA3840E42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84A45CC-9228-4D5A-8ADD-2DA448C26B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C19934-8E59-42D8-BE59-C063705A2F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C78567-352F-4562-AE65-64E966F249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0C312E-2BEC-4497-9D8B-AEABE71B39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CC349D-60A6-40FB-8AC7-5BAF43A8ED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20F87D-C283-46C3-A848-0ADD4B464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5CA5B6-9351-4763-BCF0-99FDF8AF59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E6BCEE-C352-4A32-9BEF-8E60826567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A0F5D2-EADC-4E01-9672-D891A231C9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84F9A6-00A3-4CF7-A62F-5670C9D2A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339C2B-9540-4E3F-B3E0-116C0F12F3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A006B7-2865-47DC-96DE-D50343CE89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1BF222-C7AA-4EA5-B188-BB07444021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7D69C7-A4F9-4B00-A99C-5E7D5878E8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6B71B8-5882-47C1-B9FC-C03A7AB71F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A7DE0F-1501-4A61-A796-9151878DD0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FD3324-51D4-482B-AFE1-3421636410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F7BEB7-86A5-4280-BA2B-820FEA95B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A94665-1468-4E45-90BC-893954AA58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CEAF2C-C636-4DD8-B4B3-C7C621B06B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D1A667-F252-4478-B9E5-FB56F078AC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2EBAF0-43D7-4BA1-8A77-D925CC68C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E2C726-5D91-493A-857A-FB31C69ECD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8944FA-88AF-4E1C-BC19-014377F21A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4869C9-9770-489C-BA6E-B3CE6D0EE9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5CDA91-F554-4D26-A52F-59B1B3F36A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04E7DD-1BEE-4113-8BDC-FFC757CF1D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7AB151-4413-41C8-92B8-537AA3BAD3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C7D824-10E0-4253-9421-A78FC72749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0D9481-715D-4ED7-85BE-C8A9A34DA1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A31687-3EF2-4532-8E6F-996436500A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37840A-6A37-47A0-99E5-B7540F4485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BE4E7D-5FF9-43BE-8719-44B6CA26BC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BDEDEE-965C-4430-9517-A29486608C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ECE0AB-C19F-4418-969C-C189DBB4BA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9BC71D-F44E-4BCE-88BB-7445F833A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37A59C-4439-4C4C-8B9A-E45E6E3BF1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B7C7FE-CA32-40C0-83EE-C6F86A8875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D85083-C669-417B-B3F2-93B90C21FF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400360-12C2-4520-A00F-7A81BFEFD5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07BF41-95DE-4B33-8798-9A9DEAA3B8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10E138-DA7C-4855-9FEE-7045352FE1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447BA0-BBF4-4369-8A22-AB286F2512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AA2013-0B12-471A-A2DC-49C8DEEB02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A5356D-CE23-420B-848E-45C08159C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31DD31-F6F8-415F-9852-8F59AE1B82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30A75B-9B3C-4B28-99D9-C60EB2E2AE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A2BEF3-A808-4D62-9BAB-8ECE37908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5E8DF8-9CFB-422F-9426-6F7A6A7FC1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4E0B2B-B85E-4103-B9FE-6536CD6E5F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E2E7C2-B921-4B9A-B524-F4579DEE9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4375F7-AF15-429A-951E-78EC22C1EA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A8EE20-4DED-4D14-BD91-F3950D6B16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CD9BCC-2478-4651-A077-C115E566C0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75998C-8CF9-47F5-AA59-E2024C734D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AE21B2-8EC5-4008-8A64-642EA5D2E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1C0B7D-6D01-4AB0-9D98-57206D1FF9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89C1AD-EA9E-4ED8-B88C-3E5BBED1EF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7A820D-8169-476B-9B10-930C62B86E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184465-2A7C-47F5-B947-B45494E3CC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7C3D7F-DB03-425E-A868-62E1300509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909048-D250-4AE9-92D2-A77FE54C42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C8BA85-09A9-4933-9B74-C8D9F4721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48F4E4-34DB-40EE-94A3-8D65B84072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5E0194-7979-4355-86B1-B16EDC44A9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71E942-B90E-428D-8140-8886F810E4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88375C-1A04-4D55-8AB4-A94F36AF3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F71ACE-B416-4D34-8641-E1C951CB3D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4FF282-8E25-48A2-8A1E-5BA02AC83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EC2BC8-A066-45B2-B542-88F5F4B8E1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83C308-CF6B-4F6A-87A9-903175FCFD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8C71D2-E8FE-4E72-9E2E-DEBF02AA12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0038E0-19B1-4F53-906D-C6F86CCBE5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156F0A-96C0-4760-BFE8-C1586B4F0A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AC51DF-4908-4F00-8E93-9CD82E3689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993E89-33EB-4F3B-ADDF-B15DEB995B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4DAEFC-9D0F-4C19-9364-EBE486FFFB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318D78-B4DA-46AE-953C-E861E87D70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B817CB-6AC5-47EC-A45A-9646408745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BF3C78-90E6-4D5D-ACE8-67DDF3DF46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598249-2B03-4920-9C27-747AFCE19A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6F7E3D1-045E-4DEF-866A-A037D8D9D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6612F93-4A03-4797-A14F-BCE93F07D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19B0D53-9F8C-4C57-A2FF-4E76E14648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29A1241-1B9F-4FF7-9D67-13171E173A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FE9971F-498E-4F5A-8C1A-30BBD93430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CEA5436-4453-44F7-A5A6-ED92BF380E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5113D89E-C398-4F15-9E30-19BEB31E70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4B29D664-C622-4464-AE49-E5271F0C28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CA0A29-3ABF-4DDE-A014-9CEF1D2DD7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AA1C7D-C696-493F-9493-46FEF83D8C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5E2485-361E-4B17-A739-355FBEBD17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EFF8F0-712E-4C97-81F1-4964736C9F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04030A-5F11-4D95-8349-10F9E1E489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295863-60CC-4E0C-A715-D1A6B4B427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E90126-9B72-4E40-B98A-149866559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F9F64B-2CD4-48A0-9ADD-3D5B307F2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2E4813-0B45-48AF-B0AD-CB4E1B238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AD4FBE-FB6B-48EE-A4A5-5DC4DB7D50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B10BA0-91F1-449A-8015-4B73A85EB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103E62-253F-4123-9EAA-ED561DFD5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342EEC-7E35-468A-A0D4-53716C59CF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51A142-02E6-40CB-AE3F-C5B14AB37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1FCF26-7DA1-4396-B987-64B501BF52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790D0A-B7BC-4352-BA41-85A9D86F58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4189B1-9CFE-4912-911D-72B674C5A2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616B2A-6561-4E5E-BD08-CD086FC48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07A06B-73BF-4433-98CD-3D68AD591C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5AF432-977D-4853-ADFB-CEE2B58935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D84E59-C455-40B6-B19D-06A150F42C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F22868-68C2-4B72-AC9B-1164524E93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D1274B-1EAE-40DA-B1B5-70E2C7E782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BDA36E-46D7-412F-B29D-68FB084360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774971-219E-48A3-BAA7-E8129A0F89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351B79-0456-44AC-B724-7AFB5FC6B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3F5425-46E8-4B55-B948-2809D72502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DEF3D3-CE2D-4C2B-BFFA-A6D6DFF62D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E5311C-6526-459F-BC73-CC47F3431B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19FDA7-FFE4-4CD5-8271-9BA1AA2677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9B2C58-5CBD-4D8F-9767-CB47E80EB3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360875-2AA4-4939-A878-4BA6E36C9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DF8E93-D7C5-406B-8314-CF109D9824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4AD5CE-701A-46D7-AF2D-C696C1D65C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008BB6-08C1-441D-92B7-1E9D3BCA1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EBB633-5004-44F5-8208-B6348F3F1C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92DBBC-A2E3-4FB0-A784-3A2D77CE3F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CAE9AD-F908-4F57-B9A5-170525CE2E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5B3506-06EB-49E9-9573-EDBB44536C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437382-F344-4BA7-8E03-C7AD1733EC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73B7A8-E555-4EA9-8D43-520AC5BBFC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F20760-D73C-4603-B82C-60B3286D76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E9BA90-A177-46CD-B745-280710A1E7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788B79-4516-42E6-8ADE-60C4014225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14566D-43BB-43AB-96E0-BF6929D526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2E1EFA-5350-4131-B2EB-9E4D9E51E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403692-2039-4134-8A3E-F29148CC8D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B74F6B-2B5D-429C-8AE3-027684899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FFD18A-7C56-42A0-9E76-1047D41549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A2BF34-8011-4569-A3BE-9587D51765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31F61F-9593-41DF-99ED-47BAA9AE51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3A5F98-CA90-4CA2-A610-D24C65A8CA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554F8F-CE33-498B-AE9D-6AE3D70F68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F20529-0DE2-495E-B2F0-0D27C709E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985FFF-726C-419B-8C3E-D6DB36BA2E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9D1F1A-7043-417C-BB2B-6D516AABA2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C2B7C8-70B2-441B-988E-66A1ABF4B0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E78A02-8E7E-4EAA-854E-876BAF9D2E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B42E72-9169-4F92-82A5-DA92A3DE65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6E6702-4DD1-4E02-8189-A5EBFB8329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8F4576-3243-4832-AC8B-4D397A3FD9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7F3EA6-967B-4391-8EAD-DAC4F7198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900A79-5F48-47A7-AABC-B5C3FB4C7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E2F8FE-F246-4825-8EA7-F06B9693B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0A7442-5FDB-42CA-AC06-1517C3741B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E88870-352C-4496-BFA5-1F4467025D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136C10-A867-4CA9-A422-532080554B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9952E0-05BA-406E-A28E-7D2800A492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CCA75E-5F57-4B58-B606-BA8FC0D83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A95765-3FDE-4A1E-A164-9AE4254CA9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633DC3-499A-48E6-B7A9-984D83DB65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D518C2-3785-4F17-BCB4-17A6CBBEBC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AB51D2-DF5A-4F1E-80CB-A9B5A8D48E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6D7A52-576B-4D03-A8CC-4BCE1A569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D570D6-0065-4A01-A417-5B0F2544AF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F336C2-C4A8-4DB1-BC8A-9FA8B4CEF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B428D1-9008-4F36-89DC-9A156D998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849612-EFB8-4613-B09F-F618538B07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16C227-B362-46B0-92E3-8BA8A506F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789535-A90D-4B2A-9050-CA01DA9E57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98D5CD-8A81-4A79-80B6-39C768A8F2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B5D795-088B-47D4-B452-F9AB6828FB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8FA23D-42C3-4532-A8F9-D01DBD7B23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E026D3-C27D-4EA5-B304-767E0613B9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8FFEF5-DD47-4D0C-A6F1-F9737C5537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BB7CE5-509B-4239-BABE-FFDCFDA34E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63B5E9-1CCA-4434-BC9D-B41CF3A1C7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B418B4-B7C4-43D3-B5B0-C46DB8015F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2BDBC4-31C2-47E1-A99C-F2F3A8C8F0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5944C4-05A8-43B4-958C-A3B17B304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BFC379-7374-4CEE-8596-AB10FA22C5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F549F1-0E37-4237-BA52-B4EE22F17F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51487E-80D4-4F9A-920E-66CADDAF4B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121839-931F-4BE0-B4E5-7E0A457597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D1C5136-A299-48B5-A8A5-DB6F05F69F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5242DD-58BA-4802-86A7-9CDFFDF8BC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030250-75D6-42F0-A50D-7ED6512730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68A4A2-413B-40D5-B11D-1AD444C0F3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D367A3-3E40-4E8B-AA32-947DD70071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52C900-D7EE-4374-844D-34C766F9BF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CD270F-C439-4091-AD46-DB81056F18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D186B6-135F-42C3-9B4C-50284EE8BF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F31BEC-CDBB-4813-AF9D-3141E746F8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03BD66-040F-47E7-86E6-DF8D98092A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443AE3-33AF-4836-B01D-3B7E263AAF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49FE79-2FFE-4268-A4B9-49B2EAA254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8BFEE3-5F66-4890-B25B-9A866480A7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A6B090-77C1-424E-80EB-5CC9158A63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2B03BC-6EB9-4283-A31B-438351FE3E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FCDFE2-1BA1-454C-A529-B6114EE7D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480B65-BCBE-49C5-8C33-A71E9760A9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128063-2AF3-45FD-B82A-E2AB8A7CA4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2A357D-E19C-43B6-9CEB-762DBFD657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E28041-6474-4D66-A407-4E13222013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BD547E-9B7F-4C25-9BAB-9948D27537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74938F-277E-4F3F-A9E8-2A6990AC7E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4A3A43-4928-4521-8BF6-DBC491E562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58E299-7828-41FE-8C23-2C62447B7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C88C09-02E5-4E8D-9FA2-7BB411F743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C8B26D-61F5-41CA-9742-D3A5DD30D8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45D6CF-9AAD-4BAA-B054-4C0A83AB2F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418A69-D67F-441F-9DF9-DE73B00B2E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74E39B-FF38-4525-9D74-BD838A680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17A437-487C-4D7C-B426-F3AC989D11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97D32F-009E-4393-8878-3A1CB4B30A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3FDD49-6696-4625-A9D8-601830D28D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C045FC-025D-4E12-A371-480066F713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337BFD-4B27-40C7-BE59-E37480D51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7EA499-AE2E-4525-9D57-DC5BBAEA43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167AA7-7450-45BD-846E-53AC37DDF2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BC8EA0-A1F3-4035-8AC3-7A1E67CF5C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B8730A-8CFD-43E8-9F69-46E4E430A2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07FCC2-9147-4A39-81D4-A987E7076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D4BA5A-FCE1-49E2-8B27-43968FF91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B4CA99-B1BF-4655-823C-8ECE96286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376AC2-06CB-42AC-9B17-E0911FFB74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5B9649-E7D5-4F77-BD98-511477C432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DCB7F7-77C5-4A0D-B31D-134BC07028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A9FC90-5AA4-4EBD-9F25-5C26CDC4A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24ACDF-7462-4B6B-BD62-8F6C311226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5346CA-07F5-4F1B-97D8-9F40ED19FB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3E41CC-2E8D-4503-8B63-8E4C042052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AA57A2-6255-4E51-9AB6-A72E5AD389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12E634-4FCE-46FB-BAD1-8BB8F7F9EA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6F2422-F908-4D23-9D4B-75EABE7AC4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B47122-5F0C-4A74-AF62-B0428734D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3F42E6-8426-4742-BC16-A87CF16C91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71FF18-E52C-49F6-9839-CFE422EF86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98B7CB-EF5A-4915-81EC-57389CD73A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79FD7A-6E29-42DB-9FA7-8856452CB0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7AC6B0-C7C0-464F-8FF3-A5594B27F8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E28667-622C-47A2-BBFF-F9DEC8E3D2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018D68-A792-468D-808C-A3E739BABB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CFFC2A-52DF-4475-BED7-0CB3DAF7BC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3C3976-0CD5-48B9-A719-00EF7D5E75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269BD5-3F1B-4368-90EE-02FA0C43A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03F5B9-6156-4A78-93E5-A7CE85E92C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BC8363-95AC-4D6B-8937-3B51B41A84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9B5719-630C-4016-BD10-6314D988E1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CDC6DB-ACF0-4704-A87A-21307AAEED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923FC4-CAA2-4739-9DC8-87DFD46E03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E92EA3-7FAF-4129-8263-D5FF0155E5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9292A3-752D-4620-A0D8-699431F16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AC212C-CD79-4B79-B900-F68D9BABC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E5B848-EEC2-4D77-B05B-A5A0032B4A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358279-DCF7-4A38-8BE6-F7F6C804DF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F1F637-404E-47E6-8978-BE10E254BF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71E993-DB4B-4AB2-BE8F-BB26E5F1EE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0862C81-606E-4E77-9E2F-215831CF24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AD75724-90D2-40FE-9989-F7D6AB51FC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154208F-DB9F-479D-BF44-2FB5AEDB8C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2D681F7-49C6-4A35-80FC-9E61DD70C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2790927-5BD5-47CD-9164-1DE27BB2A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447DE92-5EAF-41DD-988E-190D7D3C9F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46AD1A4-82F9-4E60-A091-8BED6BC628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6E4E3BC-5606-4270-8DA5-31043C9289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62DFC5-3CAF-45E8-A138-C1AA8590B9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2BE9D0-810F-455A-9AC7-427F4D8B7D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461419-7D00-4AD1-B026-65003A4B73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E3D292-5A5C-45B6-B906-EF86E4EB83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8A8685-B915-432B-BE43-F462CBF4F0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DA511A-B567-45DD-84AE-D75A680537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13A47E-0F93-477B-AEED-60935D9784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7AFD7C-A6D2-4CFB-9FF2-F2085C668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B20283-C94D-4A1A-93E7-5E2B4B081C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308C8A-1ABD-4784-B19A-54B09E2E2B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749C9B-85B3-408F-8F5D-EC16776D08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DF88ED-1DCE-458E-BC7C-4392B7ED09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52B021-0008-4EB0-AE58-9BDA5964A7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8D2742-090A-40E9-87CD-2D11DD55E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BA013A-9E62-4FCD-969D-2517771925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30741D-8CC3-4227-BD8B-B69FE7D976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317EF8-5932-4597-A9DC-29FCD06548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DB6E22-B34F-4DA3-8FFF-C9BC678CFF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E03121-197D-4E7F-A353-756BB4EF6F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045CE8-7676-4073-8C66-E763F0858E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A9909B-1E1C-428C-8923-C8CF88F7BF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217120-466B-4531-907A-B10C02B42D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B61073-3847-4B8A-A548-C44B580291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CE04B0-BBDB-4738-AF9C-9402B26117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A134FD-6EA7-422C-94FB-F6240B0FA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D51A97-5334-4216-A77C-B79DA2846F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D46D82-FFF3-477E-82C3-D583FB4ED6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B3777C-05EF-4B71-86C3-B99A54F95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926883-48A0-4832-BECD-A099F02329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88A512-344C-4CA9-852B-D23BD9DB0C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220799-C1F1-4F32-B4C1-B3DDBD4CAD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D5EB3B-B99D-4879-BB27-CD4B0A8275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03C440-C0DF-4E09-9276-AFD8E17E70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E26696-F907-4B3B-B353-DACE091D3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64B727-F41E-4EB1-97E2-D679743F86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12E96D-0101-4193-8736-93D1284635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45917B-8D11-4513-863D-067A9B3DEA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052E17-CECA-4E42-805D-C916725599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27DD96-5518-47B6-AAC3-39B1F1BA7E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F05E70-5980-4CB3-8943-80A337CD0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A7DBCF-C3A0-43A8-82C2-F85755414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148538-7DEB-4F1E-9538-BD39665BF7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4C346D-2D8C-4889-B8C8-5049FDD26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632400-A6A7-4EF2-A7CB-0AF078A89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2FD34D-D820-452B-897B-3A4DC336C3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3AA216-76CD-433D-8314-07D0A0AC9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2304BD-AB65-4BD4-90AC-5E8BC106C3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229125-0A35-44D2-A7F5-BA080300CA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2C3E64-0369-4D94-B08A-91E9509999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255E25-EAD5-4E33-BCD6-7F50BC8961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F1BCD5-2C5B-4A35-B773-A254275902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4237ED-627E-4890-A910-26A8BC05B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590C50-B676-4D6A-9F45-731B4DE88D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BDE662-B241-4337-A2CB-C778F1EB8E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BDCFAA-DD2A-4F43-B2D2-5D8A178C03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6F9688-A115-4CEC-A0BD-F7172630F4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2B3EF9-E7B1-4144-8797-F8F60AB6EF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EFF054-DFE1-41E1-B05F-BCCDE258C4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301327-2DF7-4E66-A8DD-706A018AD0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6193AE-910E-411D-8612-DBD28A52D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FD35DC-EDED-49D6-96C7-10FF9F8F35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1BAFC1-5E9C-498F-B80B-7DD98066E8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76E994-864A-42CA-9E60-737A1AD171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B4EA3D-5043-4EC0-B8A9-FEA504D178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F18C32-524E-4AF3-B7F1-706B24366E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B81ECD-BC39-452F-86CA-7EE9DED79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2A9DAD-E376-41CB-B466-21197EF091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1BB427-6223-4666-9062-303617CA61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1C560A-173C-4896-BD6D-163315322F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AF5388-6700-4D69-91EF-654BDD1A80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B01AC5-0BF4-4F8F-9BE2-4C8553A40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E93D6F-FBB3-499E-A041-7C3FE42C38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02A008-8E74-4EC6-98AA-4D17BE1C38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C821AE-3880-4B8E-9498-02D916CACB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B845E5-40B8-47F3-8227-6F407A469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65F315-1AF9-4076-A4AA-2EFA15FA4A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46CB1B-F549-4DE8-82C0-BED745A20F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3439AF-5867-4DF2-BE32-67A6647F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40FC09-BA2D-46DA-8BC3-6110E71D25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3FA363-FE02-4234-9BB8-B2A25F31D4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2539AB-A453-4A9A-8D79-78CAD29965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3B984A-4D85-4AB8-BB0C-FDCE0B8596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404B3E-58C0-4DD6-BC06-97161CF96D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A9FD6F-B1A6-47E7-A3E9-1F9E52DEF1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F0E0BD-A197-44A5-84FA-57E241A6A0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B459C2-C827-4843-AF90-CD04AA1C66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96735E0-86ED-4DD8-8FD1-D8DBC133D8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330101-747A-4650-B93B-C451606C19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9F50204-48C4-4027-8861-C62C35A3E9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8CE6F6F-4B96-418F-BB3D-32C58188A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6CB558E-2377-4D07-8487-E003A9C86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606AED2-25FC-4F14-BFF6-CE0C819B2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5B330AA-90A1-4113-8D4B-6358969E01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31EC109-BC39-4B8D-87FA-3DE30D20CD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2399A87-9AE7-4BCC-BE74-F2DAE8C31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701E0C0-9281-46EC-BE39-C39DE74713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E7DA2C-68F4-4A12-A758-42A992ABB1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5AB0F1-C2E4-41A7-B2D6-3C60384DD8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6B5C08-0ADB-4324-B5EC-D9DBFF6636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3A748F-7D80-4F31-B335-B0E6DCAA98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7CF664-6539-4D43-BF0F-DE70D9342C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B322810-41AB-4223-ADFF-C67784C1E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1EBC15-29F6-44A2-B1F9-48FBD55055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B41B78-9430-4216-842B-E0F88E7C1E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298498-C412-4E18-8BA3-E3C8E3B26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449756-095F-47FB-B4F1-47FB53C1CF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2EE096-F23C-4BFE-98B4-583E44098F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05799E-CE12-4CCD-A1BB-617CEAD81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26BCAE-C91A-40F5-94FB-BB64B3F3CD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DCFCB8-FE6D-4D28-90C0-8DB38F0A4E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67ED3C-4BAC-4C05-B2D3-15C49D484B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3FD9C9-763F-4FF1-8A66-B9BCB44FE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1088A5-80AC-45EE-8D4E-530892E9D7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8F8AA1-D28E-4743-BDBE-8132BD8C20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33FF65-984D-4838-B27C-FEAD8DCAAC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51AA25-3A7C-467D-B7A3-34D1DCC65F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3D1C71-95F2-4B9C-AE52-359BF07C1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412795-71C3-41CB-9FF6-C802A4581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8D4EA1-4F3B-4761-8C81-0C6C3A665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BF9337-09A1-431B-9446-052EBA8115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577746-14D4-452E-8920-9F67132FCD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C4E39B-9A4C-42A0-BCE3-7036F70570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5AF9A2-8D73-4359-93D7-1E4833E3FC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6D9C7F-2AEE-4220-B9C7-CD456CD735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C8A0C8-F245-4939-B225-EE01975A9F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0D19C8-C8F6-44E2-B84E-5817F26E2D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8533C7-8CC1-4A8E-AF2B-7021A74927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905408-11C9-40ED-8182-78559FB58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32F718-6A7F-4BCD-A5D1-96B4401942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31610D-174B-4E87-862B-DC71C2DC23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B4AB77-0547-43FB-8652-79F02DF431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AD8C45-7DF7-4A8B-B100-A5AFFA6A24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0D4E35-45E9-4D98-882C-91C8B8DAF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397B76-F0A8-4297-97DC-CED929FC6D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BA97E9-18BA-4CE0-B379-C2E96B2FE1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39BEAB-A274-40A2-8E1C-3D061ECB0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B5701E-A896-41AA-B891-715A2275B4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2417C5-FCC4-4922-A69D-23F830FB0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E89568-D2EA-4DC7-9D4E-9ED873CAB9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8EE909-5D7E-474A-9801-41916D38BE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40927F-4AA4-4426-9371-299DD458E1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84A04D-EFC1-4591-B156-31BF3E3866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A5B754-5AC7-49F1-B803-5C8F4DA38A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0759CE-EA4F-411C-8E39-C5B2E47B8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64A978-F4A3-48DA-B31A-E9CCFE224D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298029-0E3C-4C92-993A-1B848FC987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9B162A-FBD8-4D66-9141-E644FD4DD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D240E5-42E6-4DB5-9DF8-48369B2F94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FB39C0-BB9C-4F72-8BC3-8A23D45406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32FFF0-4493-495C-AA21-BA8E27C6C8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EE4E51-E202-4D58-AD24-41636FC1D3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4045FB-0118-4D5E-AE85-1E5330587E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7F323E-459D-4905-8FC7-B41DF96AF6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B3AC3E-2AA7-4013-B49B-BD5158F1A0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405B2A-18AD-452E-8746-F79E6DC89E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7B5430-A66F-45A0-AD5F-D833CFACAD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D0E4E1-7F86-4E67-B808-CACB0F8594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5D2E3D-519B-4C01-8001-B41135DEC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D64F1C-31B4-4DE9-A713-577C38A6D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7F57DB-ADAA-4C20-B8C1-2E4E7CFA3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EEBC1A-D972-4F35-A6EF-A7219D8E4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3B1340-792C-48C9-9D6B-C5B44C48F8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DD9FA3-0D8A-49C4-BB7B-B819F5C2CF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610B2C-AB91-4D45-9DE7-501922ED5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D2C5F1-DAF9-47A2-A29B-7C78746C59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7B5840-BF3E-488D-A23D-3D1E21F630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A46B61-52B9-41C5-A842-4D5A64A6AE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F6F5D7-E04F-4C5D-9A77-A3DFE19FE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2E7A52-9D46-41EB-B57B-C646DA0988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58D768-CC95-40E2-BA0B-C1719000E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5A1A55-33A5-4527-96B1-86D4C2546E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84C1D2-2714-4096-B369-450623E5F6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363FC9-4701-4D91-9C18-7D74CCF0B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EF0003-46DE-4A38-9B4F-A720F2811E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500155-1592-4A20-BE4E-34BFB3C01D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4245AE-A373-43A3-AA76-0326623C30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C0151F-F97B-47FB-B108-2AAE15079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CE74E7-F220-46E9-8714-40900F7931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9DF2D3-984F-4077-979E-5AE1B5B5A2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AF042B-449E-46B8-91A1-2650BAE79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6141A2-0BF3-4DAB-8DC2-593FDC93A9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21D4B9-D32F-45AC-A822-34CC74C1D8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2E5211-EC5B-4B20-9DCD-99F28977FF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BC27C76-AD92-4DE6-81FF-4BFB407038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151CA9-3D34-4969-8256-C48EDBB76D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61FD7E-E2B6-4CFB-BAB6-C641237FBB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2A3C15-2887-4D73-8E1B-6807E5563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0F6EE6-DE1E-4BC6-ABB1-5149D87D58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80E7E9-FFC7-4E5E-B948-17A2591E0F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4B3632-B8E4-4032-8600-6A04055F8F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E45C79-EE8B-4F99-8511-75242177DE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75717D-41A9-4014-A195-DD0D00A1D4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870DE7-849E-4E2B-9E78-498D7E3F2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416A66-AB12-45D5-B5E1-E8F5D058C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DEC869-DADB-4DD9-891A-FC0756303A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4CD406-A8A5-4A4A-AA3F-D8CC56C24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3C96D2-E21A-4691-BA93-4BB0C3D103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BDF84A-702F-4E6D-85C1-A9C43C2085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70772F-80A5-4C2A-8EEF-0DEB38C687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97CC74-0177-4232-9501-D34FE1A73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005225-A56E-4BF9-948C-33FDF14188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8F25C3-E332-4572-86F0-2399947AE7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C9E69D-2DAA-4432-B31F-1325FD0B30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CEE880-323F-44E3-989D-725399D0E1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9E33B6-E942-4103-B83A-FCF6374098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5A97BA-6020-413B-A737-ADD528870E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CF0B26-B2AF-4800-B78E-A04103566F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4B31E5-A7A6-476D-9B77-FA13DC8809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DC8438-8EAD-48A6-804C-ED38FCCDAA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4FDA78-D45E-429E-96A5-B2905FE606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E38480-C98D-4FFE-A768-10412780F5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7C46DD-BF2F-46CF-AB27-E9F92374B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D62519-499F-4A3D-9CC5-4372664D39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91B132-E352-4289-9458-4D6E402991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FF0AA0-29C8-4513-8D57-EBA625E7F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C7B35C-10A4-4AE0-8DD1-45DE38B4A5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471EF1-9143-459C-9E3A-E343B6425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70ADF9-2C89-438F-92D1-0C4FFFADE9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2C2B1B-0058-4B92-A07F-B424C30D0F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C0D727-D514-4C22-8003-C389E7BAF1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5A537E-3423-4B2D-8CB3-0ED308F550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3D4439-FC19-470E-A5A3-441BFDFB68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A29993-E3C7-42DB-B3D6-2C0345BC74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2851CF-C29D-4F5B-AAE8-7B04895D3B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B1526A-036E-4ACE-80C8-FFD6D2906A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CC38FD-FAAB-4BD2-9A88-67CC06BEB8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F8EDF2-1D99-44F2-BCB1-16C46C91E2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AE34E0-BBD4-4CBD-BE78-B816BD59CE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D0F97E-74DC-4BA2-9649-270635EFD9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1C53C3-003B-46CA-A01F-6829747664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F18D46-76D7-45D2-A669-2912EF5F96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B767AB-8AF6-4A89-9D7F-CDCC320D93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A10AC1-238C-478C-A630-A770D1A8B6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2A1728-3BD4-4A08-B5CC-D4DEB9CABA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1CB4A4-5F16-4121-BD49-A237E41F2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6EEE81-B934-4B0B-BE2F-E3A8BC452A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7FD2E1-2714-435C-B41B-2F6EB7415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7773D7-2332-4F3A-813E-8B2A2612B7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B418C7-231F-4521-B3FF-6231707746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58CD76-380E-4098-A544-B700E1FA31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EB48C7-013C-4E76-AA51-F1576D7F5F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90E65B-2502-4B27-9A91-2F9B2A5607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3CD25F-DF0A-4199-B1E5-877A285973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BF07A5-13AD-4688-A934-B17B59DFD7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26BD2E-23B2-49A4-A7C2-BDEB2101FE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A07BC5-EB59-4423-9AFC-DA689A4D8F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C98671-7082-48D8-8086-6D947DC383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DD418A-740A-4D05-B5F5-20993D919A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88BCCC-B1DA-42D0-A5A2-A78F464CA3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94A2D8-E45C-421A-AEEE-13B2C50DD2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FB6930-7FC9-4869-87B9-75002F8E4D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8B4FD6-B661-48F2-ADB8-2C4EF02B35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060825-9440-485B-BE5A-40710A1C7F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EB49BF-D952-4231-A8C0-69B0AAE143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61AB1E-A0B7-486A-AFD7-84ED67DD41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A865F5-3F76-4BAB-B3EB-63D1359906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B5E89E-7AAD-4294-B799-D283127D0C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4E56A5-9852-4EDE-92EC-45FF4906FE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821C3F-C2DE-482F-8B40-9BCE50B1D6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99CA10-10F8-4032-A605-FE6ED8BBCB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769517-9353-4192-9A49-527BFB10D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562E3A-0526-425E-AB8E-B16DE1C54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8D51F9-8195-46B9-999A-D1CA7DFD07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5EF5AB-DBA1-4B1A-8031-F099FDE5D0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DDE8E39-39C8-478D-9BD8-95CD060A5F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61046E6-CD17-479E-B8C3-456EA0F685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70AF8D4-AB00-4218-B292-0CC532A8C9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BBFE4F7-CEF8-450A-948F-7D708F7DE6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C777612-DDC7-4A26-8BA5-4ECF2FF03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9D10410-86FD-4A7A-9036-0DD96D65EB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5D2B188-9A81-4164-B7C1-24D519E72E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12BB8F1-321F-4AB1-9AD4-6D38A057D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B63C3D-D925-4235-AC47-B972813B7C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17044A-0897-447E-B908-AE556EB19F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42F915-E837-470E-A738-16A68A8F99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F1DD99-DEE5-472A-9E2A-C888EBFCDF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4D204D-91B7-4CB1-AAD1-EAC1D4E669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60CEA6-61B6-48A1-9DB5-2347980FC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BEF407-0194-4368-BF48-F781064B4F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6417D8-5716-4278-BDFD-EF42C024C6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EDDCF8-06C5-40C6-B69F-FEB3D68AB9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CEE3C7-0ECE-40C3-85D5-5111312ED6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FEFC40-D47A-4C6A-9782-B8AB7A817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5873E9-2EDF-4983-BC12-ABBE5C485C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F1F1A8-BCBC-4E25-B837-584F91FE1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83EB66-35CB-458F-94E3-FD71A5156F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4050DD-6ECE-4E9E-A680-AC10295F03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05D3C6-7EC1-46A4-B0D8-C08A6CF5D3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E15B2D-95B8-44F5-915E-57F5AEF9F9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77342A-0D2B-403E-82C8-EF3D17F044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F9DF07-A67E-4684-83FD-011B8D96B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8175C5-2C5A-4906-A6E2-8630AE8A99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577631-9414-4478-9DF9-C354E4F32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094419-5F35-4D3A-A0A1-9608F4692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1099D3-129E-4321-AC9E-B58B8CF2F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88D8D4-3B70-44CE-AEE3-584376866F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2FFD2A-3B96-4A83-8908-B46113F85D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210F04-AA15-493B-BA61-66E8D6DB3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FC84F6-415A-4F4C-BB0B-B59B31541B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E3F7DD-F596-482A-8328-1C5A332548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3EE5AA-2470-485C-BD3D-0380D134C8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B29181-1052-4F06-8A3B-EA0AB778CF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CAFDEA-B12D-43B8-BAA4-DA1454D38D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C86F1D-DDB4-4A35-A518-AC4FCB02EE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774923-0D65-4B74-B1EB-96F0ACDAE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AF7073-6BE7-4F0D-98E2-4B459259C2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0E9136-0AF7-4C69-9C71-76F7B7D523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4AEA99-1A19-48B9-A0CF-96D07D26D4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FF7845-CCEF-48EC-8690-67F9B17409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314750-59AA-434C-BD02-27EA914F7D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F0DD9D-0533-4DF3-BC2C-D6AEB49A3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4BD6A1-B5A7-48BC-AA36-C8632331BE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586F1F-7824-48C2-A701-BC29625D86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5A5E7D-E475-4BD3-AFE1-A9CE64A186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AB7C5A-1959-490D-9006-9615F2EF62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217E5C-C372-4E20-A260-0889FE8B02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A4783A-C9CB-4EA4-8753-4761CD52C4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954E0F-062A-4BD9-8866-503686C542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FD98F1-C829-499A-9895-583C2519D2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07954E-03AD-4E5B-8C30-7DA32854AF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BC72D4-82E3-46E7-BB9F-12CDEEE265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39C898-B700-4B8D-BC66-9299C627D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D1CB21-5EC9-49BB-B5F4-C8C9F4F949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9C41FD-D279-436B-863A-E6FBC83CD9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9D2B1E-1C74-4CFD-9673-D2172E84CA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5478C2-6686-48F9-A450-A1661F0F91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5D7D7B-EE6E-4B1C-8D1F-8F8E399945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51950B-577A-4576-83B9-4334235BBE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94C486-EC11-4413-A978-2886047B79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AC3611-D95A-4CCF-A3AA-ACCC466577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C31D41-D7A5-4829-B6E5-422B276E1E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8917F2-C36A-47D7-96DA-ABADA05E6A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71FC0C-AD94-4AC0-BE8E-5715010557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ECFC11-CB15-43AC-B3D7-5B9E08EAF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5E1479-4896-4459-A862-D882237068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23797E-9BE3-4CF2-9493-2B32663A4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A74687-628C-4CB2-B9EA-A45355D176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DD1178-E6B7-4614-8E00-93C85C3873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6C0157-2DAF-4D60-9AA8-BB6ADD4440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59BF46-FBE0-48CD-80CC-F384D5231C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A8A419-176F-4254-A1A6-6F118E3D9E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EDA1B5-25B1-4838-BFE9-F8D011DA9A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BFC2A1-DAFB-4C7A-8A4F-A650495DE0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728092-1815-474E-9905-CC604E5A5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45D0F9-889B-44E6-A66C-F3B3100789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2EF72A-3B3C-4718-BF46-353C688690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049E5E-2D5E-4256-9B1F-4D8B1932A5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465A99-51F8-4F05-8438-0002CCD24D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920A86-880F-4931-8513-F67A0B4455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D249E0-98A8-4161-83FB-477AD70B36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9F6E09-E769-4CDE-8628-81B844F618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C177E8-4582-4DBD-8150-AFC1048E18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5215DE7-5424-41A6-A94F-13F275CE6B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D732D98-B34D-485C-81EE-D01B4A1186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88F3998-0D7B-42FC-B7EA-572B7E48E1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962E65A-7E00-4D64-BF6E-D0A32CAD7A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EBBDB5E-4001-44F7-AE79-59E2995E12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12F7FB3-3D63-4043-B0F5-E6E02C7757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50FE41D3-9271-431B-AA8E-64DCABED5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E117B4B6-7360-4704-92BA-CEAA75336C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46ABC7-7E1D-41C7-BCCC-FA2B454461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0455E2-B900-4C2C-ABE8-9FF33CCFED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513E2A-4680-44C5-8C7C-94E73EF596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357F8A-A0C5-4FA1-9BBE-0880BB8611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48E4E9-ECD0-4D0A-9601-2833FE594A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A7997B-C90E-42A1-9E08-F7D6A9A349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80900A-BF25-4E55-9AED-11BD6B083B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6434D9-DBF4-4663-AAB1-EEC318949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87E267-AF40-49EF-A772-A4ADF27D9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6CB71E-7C14-403C-A8A2-2BBF112590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957EDE-EEC2-4D05-A4E2-1DA22DCFAF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9E5860-407E-469E-8E19-4B2356986E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C9E860-04B3-4747-9DAA-C2992FE00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C4C1DD-1547-45AF-A0B5-161759FD14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0C3BB1-F545-4D5F-9C51-1E6709E6E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3AE1B2-2977-41E2-A305-D2D0096E2E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C9AEC0-D28B-4C77-98EB-F90855A0C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08D015-E8AC-48D6-BA63-21A3B4E748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7D53DF-40DF-4B77-AB4F-21C6707F4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0F248E-36A3-492F-B5CA-835FD9D617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6FBFC5-F764-4B6F-85AB-1233B46B0A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07554E-0F5A-459B-A44E-480FD82574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1B186C-2673-424C-8BFB-22C381A096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2E3AB9-D216-4E05-9095-86D1BD036A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5494E4-97EB-45FC-931B-A9DBA0B785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1BF794-2088-4F83-9250-575DE0E19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2972B4-55BD-4A00-86C0-6FD0569811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5C2539-BB7A-4961-BCDF-35614C6040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F07B0E-7907-48D7-B819-6A678E7ADF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DCF1C5-B1A5-4019-B6FA-F344C62154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FCCE68-2DF8-441F-BE2A-6ED0E3EA9F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78B160-6BB9-4FB5-B5CF-C775689100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AF641C-C191-4F5B-879F-8ECBF798A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D7C271-9C47-4178-B286-A39DE2A259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5295A6-01C3-4FED-8B02-6DA5A126B3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0A993D-2487-470E-8E8B-32A5EA1407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6285DA-0C69-4B5A-8B98-484AB6B778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850CF6-F214-4F1D-B59B-C80985C963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5421DD-B5F1-4D2A-9E98-D71D85A76B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EF1FDA-FD92-44D4-9FFB-F7D4FA154D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284D86-ED7A-4574-B0FE-C247CBBBEA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E50793-7E2B-4887-ADBB-BB93BECE12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522E0A-5776-4760-8D7D-74DE20669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85CFB0-A2F4-46F9-8C3A-6A20D316AC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226385-125E-444B-8AAD-A88FB6BC1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5E155E-8C85-457E-89CC-A8B438B7AD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F890B8-260D-4FD1-8CCA-E418C10778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6ABE88-AAB2-4F80-93B7-DE9879BF1A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F5A4E8-15B5-4A4A-B0B0-4310C39DC4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BBA2B8-B797-49C2-9379-C341027B9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7E92B5-2332-4D1B-B78A-8DE41F2C0C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A8FDDD-B9B6-4B6E-8E27-914312F008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4777D6-BFBB-4AC0-806B-1BA081E9CC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818B43-5E71-4C66-8505-C31A9CD013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62080E-6505-4A39-BF4D-6C9AA0833D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5A3308-6E94-456C-ABE9-1E65976CE2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DBBA93-A396-4377-80BF-AC949906C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950E60-955F-4B1F-BED8-A1A8B5937A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15AF83-F208-4A13-81CB-F76A2C76E9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2F96BA-A9E9-413C-832E-6755A48E15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85910B-E731-4B91-9053-17B60BD53B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B086ED-696B-43B0-8863-5EF792B892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A2B053-A16A-41EE-A48F-B0AD35D4AB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50F087-596D-4E41-9391-24AD380C8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6FE7C6-09D7-44EE-807F-A37FC7DF2E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82C284-5028-430C-96C9-D00BE80943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26D46D-2C3E-42A9-96BD-9CCDD40475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C971B6-3039-4015-B019-D1B7395517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DFE795-9801-46B5-AC2E-4B1D18061E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D430AC-9B89-40A0-AFC6-0BCA315E79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BF1E61-8A39-4B86-8BB2-9DA3A86F9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8A6EC4-21D9-4BAE-8FC5-A329B152EA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3438B2-FF7E-4FA6-9E94-706621E4D1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6FC7CE-8F76-4A5B-B2BB-F0C0342DFA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6C2D54-3FFB-4EB8-8C54-9F3DFEA40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EFA286-B279-4136-8356-FC7D84AB42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51ED1C-2F8E-4632-B85D-BEF4A599C5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4B84DD-22E1-49FD-A118-F576C8C752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0D41E2-CEA4-4377-8B5B-D833FD6663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18A3A3-5B4A-43E4-ADB7-E0E6BD3340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E877D0-7581-4210-8005-FBB2D22DA0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F3ABAB-C408-45A8-8F28-E68D12A4E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65A420-61F5-4EA2-B38C-0ADDCB10FB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9FA903-32C7-4250-B164-103E86DB0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6C97C0-9075-49B8-8857-593F0B40CC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051BC4-FC6F-4511-B4C3-CAD1D88D19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5A6183-BF07-4FA2-ABF9-C6F24FAD17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DA8CBB-562D-44DC-8761-68CBD08770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104999-7D45-43BA-BDD9-7868AC9F5E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44BBEE-0FFB-4B6A-B6AC-B64113A52C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DCD560-843F-40A7-82AE-D184C128D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4AE683-585D-404F-A9A3-13FC0763C4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D025FB-597C-4E30-9E11-1F85348050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832146-04EF-4835-AC23-0F7FFD9A57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BEE006-B8D3-4274-8A43-33171D9C0E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CAF2D3-4E2D-46F3-8631-FCCEAE76B1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CBF638-EBD8-40AF-B801-B6FD634E0C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00B37A-A284-4671-9828-653B1806C3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19F96D-F1D1-4830-95E7-47ED694B2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F5A592-C3AE-4801-8B30-48870975E0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F24428-622D-4CC8-AC69-0D1C0A066A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3C8D2B-4353-4A2F-B862-FA38F1C7E4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89180D-E52F-4DDD-B46E-D79A486C4D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FA4788-E0C1-46F5-B0EF-EBA17332B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EA69DD-FF96-40A7-BC4E-D3FC3B45D0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2068DD-CF0D-4E61-B72C-AD53ABD09A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4E0AC0-F44D-4BC0-9CF8-0A1815644E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78C6DF-FFF3-4573-9F5F-F95697C6EA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DA7662-0B48-4C45-8B04-2975DDB804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4DA991-48AA-483E-9546-ED719B759C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7C78121-F98E-409F-8D9B-8990416AE9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409FE8-F708-41E0-BBD2-8EE7BE19B0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866456-338F-41DC-A571-53B407F6E6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3BB700-A986-488E-9F4B-AF167496CB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D6A551-CD7E-4FBD-B1E3-3E7306F914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85738D-47CA-42D4-BD2C-8C368A599E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1DEA16-B70B-490D-81A5-1FB008CDA1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14F9AD-3AC6-4F64-834A-B0CADD6CBF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824B75-8758-4001-8A34-29B38D5662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E89634-99BA-47D1-A4B4-C9C26BB7FA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3F7A58-DAFC-4080-A269-A169FB0FC9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254FD9-0216-4BC2-8F0F-853EB1921B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A53E58-2CD5-496B-ABCB-232301DD02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E62B75-C51C-4FA5-9CE0-67117B9518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154065-E964-4B1C-8CD6-941457BDE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A400D2-2EC8-430C-97EF-86DD8DDC3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5A7CAA-8933-4364-A15D-41A27086DF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F8D6AA-6D7B-4663-8C77-9842849901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702340-F051-4042-A8D9-B36570941C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B9C896-0AD7-4061-AF62-A7EF08F6E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54594D-9A2A-446F-992E-EA33249CE1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4060E5-2A15-4B8D-AA58-7CFB28A4AF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5B9DBF-938C-445F-AA2F-ED33ADE495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B6C0F2-18EA-49B0-B857-CE2869BBEA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DBC22A-AAF8-45DA-9C9D-28A741382D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7D1593-073D-4BF1-BCC8-5A090C0E30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DDABE5-3A4A-434B-A01A-5D1F84100D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C24B32-D398-4AC5-AA45-D5284DDD00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224D74-2E38-4EB2-A307-C19D7D6047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AED1B5-866B-4C94-82E9-D687E8160D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7BFEC3-67E9-454A-8A5B-EF860E98D0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39E8EB-0AF4-490D-AA57-F47AB6B9D5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61D525-931D-4EF6-9406-35AA3E1A2B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E08938-D5F8-4EF1-B049-733F93FF1B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10F600-727B-4140-B612-EFA76E76E1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D6A6E4-CE2A-4207-88D0-41B8540918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E4A316-A434-43C8-B3D8-25B6581B63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0D386D-75FA-4A5F-9B6B-5D8BC3AA65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75A9A6-2D9B-4B28-BBC2-FACACB6239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1F8BA0-1847-4F82-A735-8907C9C994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44E89C-946A-4141-8537-C59652B7DF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DA4688-71C8-4190-9EBA-3E59680DF6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D699E0-C064-4C38-B08F-04BC021F2D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E10DB0-CF63-4D47-B252-CEC8E90946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EFD877-4619-4A67-8D7D-BEB7567165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38C698-8192-43C2-A6FD-14805C9EB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CE39F5-22AD-4AE5-9520-6F5E66C711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5AA5EC-1D56-4807-8A96-5FB3F1BEA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9F6439-C3FC-4A45-93F4-3FEFEA72C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57D732-3434-4585-A954-B459BAFB5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E96511-A028-4A01-AA77-A373CC14CA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F7BBEF-03E3-40EB-97EF-522EE84F49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20CE39-164E-40AA-A326-90B167DADB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FB8700-281E-4D38-84BF-3127970940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643957-2986-4EF6-B8CF-1E14A6EDFE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4388A2-0410-4089-AE13-B4C64C58C1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FF3E4D-E8A1-4391-9496-ED3F6278E4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20A846-3EFB-481E-AF77-6FBFDF4FAD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774A6BC-2CAE-4C1F-AA0A-C002B358FF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02FC0C8-923F-4594-B629-78E4D6A82A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656E49E-BE46-4128-B96D-9129CE3534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527F299-81D1-4AC0-830E-E6DFC5F4CC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4DA6D6E-9640-49DA-9A96-0C5E4824C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1AB3E95-58CF-46A8-A54A-7CCCCD5656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9220223-7443-4810-A1B0-A527623DE0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83FDC24-3F24-4921-B751-CA7844993F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981F91-ABD4-4A54-805A-73A24EEDCD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2C22FE-20F4-4614-B99F-5F3639DB0E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146536-3C45-4595-B333-0F70A64721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7995DF-2D59-4BCD-A789-6CA16A2969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13B3A7-F913-46D3-9E97-42F97F2D30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DFD70F-C3D8-4DAB-87C7-6BB92B21B6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EEAF5A-A6B4-4D6B-B843-37675BAC43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941A34-2415-439E-8BAE-CE61CFC429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82A623-FEE8-4872-AD29-25ADEAB94E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9D9DAC-A07F-41C8-883C-4F387D4912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17C7CC-CFF9-4A19-B98D-7CBEC1F29C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58FBCD-2199-48A9-838A-D8FFE9220D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4AA95D-28B2-4E50-A3C5-629B07EAC9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056379-500A-4622-9822-861A1B6FEB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CDCC40-F28A-4825-8083-B1081B8118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6B596C-6156-4961-980C-CCD97B458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00E9B2-2E34-43F6-88BE-2ADD73571D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A74781-74C8-4C49-A77D-F75848648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2DB960-C2B1-46C6-97FE-D5CC8698E5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97B88B-5840-47FD-85D4-2C520D0BFA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245F19-E1E0-4C03-8430-3FAB567D5F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0F13B4-7269-43C9-B9E4-BA8EAA16E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8760FE-065E-40F7-8A66-252A9586BA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FDE244-BD9B-4C94-A4AD-B179C936D9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FB6CE3-0219-4246-B744-455106D7E1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440EBE-58D3-4F93-B1D1-0BF295DE40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AD4E0F-20D5-453F-80F0-72C3B39160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A269F3-CF93-4BED-B4BA-35CE0239B7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0B8434-309A-4E84-921A-32759EF3E6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C9521A-0126-436D-9381-773F8EE95C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110216-28D4-4159-BABE-9DC10D4F0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976385-52C0-4BB7-AF10-0B1190E15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68A723-52A3-4993-8686-78D8DD7875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EC8C6A-5918-4527-B29E-8D46F96779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D0831E-9074-48E2-A8C6-DC25C57BD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82B899-E87B-4456-A126-A7CDA8CEDF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93CC8B-202B-404B-A793-9329C89A97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CAD44E-609D-468A-B290-916AD204DB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335684-DE15-4DBA-A9B6-95E5F85766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EF94055-97B2-40F9-A67C-233A27D2D9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7DFFE4-CA47-46C9-88C9-5312060D8D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4250F7-CF3A-41E5-8F18-9C75180EFB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20E205-BCFD-4D29-A7B1-6BB2B0928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C40561-9103-47A2-99BD-BBC12BA53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26FF4D-5AA1-430E-9C1F-5EF4076620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8C78B7-07BD-463C-AB4E-DC36ECA611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7C6267-B117-4348-B027-14B1600EF5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D6A91C-3BD7-4F73-B323-CE99FBE2DB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122B93-C1F0-4DD4-81BD-6355CC4268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440016-F37D-4EC2-8392-FE92A800A0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255112-4657-4CC3-8927-58A35C5381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06B577-4E97-4324-8D68-B8C346EC2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8B803F-6593-49FF-87E0-7E1FB86F1B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C00D8F-8BB1-43E9-B924-B09203E470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60E07A-AD40-40F7-BC52-5D1674782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16E76F-9E80-4119-8E69-7F107B5F6F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28E5CF-7398-42C5-BF95-0E8EAD88F0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62A744-B711-404E-9250-A26093EBAB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FFCC4F-BCD3-482C-8E2D-1A7CB1977F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A0C21A-8A15-47E8-8BE8-7DC76EBD4D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DAC085-874D-4149-82EF-CFEF109CB5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FAB329-B4B4-403B-B80E-4BC2FEF094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81A4B0-138B-4296-91EE-FE5AA45B8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8BBFCE-BB6F-45A7-A14D-FF95D6AC15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2532F8-26DC-4A11-9D57-130D459452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F29555-A873-4593-B548-836DCCF32A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4C8E89-B270-47AF-A88D-5A819F15B2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A5B63D-D9BB-4BD0-BE06-5C60CBD06F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59E5DE-DE9B-4CEE-B2AE-B18B8A144E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79CB99-B595-4256-AA49-CA68AE5B58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2ECFAB-808E-471E-803A-F86C50104B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8C4670-8158-40B8-BBD1-B7DC1AD943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3D78F9-2D3C-4503-B556-D4AE613499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20BE3C-CB6B-4405-BE3B-3FCB0761EB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590597-2508-4F0B-BAED-DE7AD65FAE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9E7785-0874-4C50-991C-150872C11D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37D753-7122-483C-BC57-1DD22E0A04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0D8684-8ADF-438A-8C51-640E07D46F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84BD8D-2F08-483E-9624-D31B00367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412395-5B37-44F4-B911-275CD31AC9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0ED5E80-6CD8-4592-813F-B43B52E6F2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A8E5EBA-5A61-4F67-A629-BF7F317BD0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E3B7321-FFD9-4714-9F87-2EB508CF62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6562C48-E948-4A86-8497-D1B91448AA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5DBCD47-577B-421B-8E83-B76C299CF8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6C63127-FBA8-458C-A3E0-EC70FB6D4C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6CF3B94F-58C9-4FB6-AF7D-D40B9D966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315D42D-8753-4BC2-A953-3140CD1271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2DE154-89B7-426D-A1C0-323DEA281D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D675C8-7F31-4D1E-9EF4-F118C0C37D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EFD293-3822-493D-A518-4DF4375B6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90E351-17C9-445F-903E-BDCE822772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D4C7AA-A7E4-444D-8819-B86FF6FEE0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D33C6E-131A-4D07-A5DE-292039AD2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36263C-17E3-4962-A5EB-F0A337C4F5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B4CBC6-2DAD-4A28-8C8B-3BEFF41117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815FCE-6149-4284-9501-301184077A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278985-3FDB-4B47-AE8A-0D3E62F1DA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AA249C-A6C6-4754-96DB-02AF15AD00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7DC35D-495E-421A-9D47-DD2F6F574B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4CED40-EFF1-437E-AB51-8F21886239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BB1981-B775-47DE-AB7A-74E998C458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F65224-B093-4B83-B864-9E499A37A0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041E71-BC8E-41C5-B2D0-526765EC58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E3A770-32AA-49ED-A4AB-DCD12268A3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4C9C35-5522-4BBC-BC47-167699595A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AA7612-9CCE-44F0-8BF4-2594058F2C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8C8B86-9C32-405F-B895-C177DD7246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3B8DE0-88A7-4178-89E4-0C1398B2DC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133444-B763-4D96-9C20-7733E2F192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231011-C80A-49D0-B81D-6D854FE66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8C60C0-F5C0-48C9-9219-DD5FA1E675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EE3BB4-4BDF-47D9-8BC5-2305CA092A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CD3715-02CF-4D43-89FD-12A49191C5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0E3F9B-CA23-4353-B3C5-878946454E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C2E868-7E10-4CC0-94E6-26C6964E46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ED336C-3BE2-4218-9C12-EE2E9ECCFC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C0FD2D-AE6B-4E8A-9F00-0D50307D4A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32B00D-0B28-4E30-8C05-6E8F27C95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9D2DC3-DBF5-496F-BBB8-5F913E998C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B894DC-68F3-422F-89AB-F57870D631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121EA0-F25D-4803-8A0C-B1EA224E0E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6F4774-B861-4174-9F3F-69B7B753B0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4E8B5C-6881-40B2-9779-77662FFDB9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7EB75E-2AA4-4215-8B8A-EAEC5076BC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505070-E2DF-43F3-9E39-9024FC7C2D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124E74-929F-4FD7-945C-761BD4371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C7A0BA-8D21-4828-BBD5-C51621831E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33BA9D-0E5E-4FEE-9970-B7EACBB3A5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8C817C-7693-4D35-8AFA-5D646D0C03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A073FB-15D2-4A36-900E-6CBC0C65A8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ECB9A5-F2C4-4E06-81C5-D60FE6634D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F0B79E-4F78-4E6C-8F17-BB83D33858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BBC67D-9D33-4A48-BE63-9FF8F84E4A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3DD4CA-23AC-41AE-8400-D49E2A8EE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70869C-1504-4882-AF77-C47AE8E9D5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A720C9-BB6C-4756-BFEA-4FEF93DBCD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32173E-7CB5-41BA-8209-79ED78689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5D6FCD-0B5A-4308-A2F9-36DCCC1450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FF755A-EA68-4EE3-84DC-8831A1DA73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688854-E9B9-47C4-85DE-975C7797E5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C51D58-0EFC-48EA-9261-1E79E9B869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F08B7A-7B70-4E4E-B11C-65658F4B34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D624F5-320E-47AB-AB21-2E205BDCDB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064AD0-CAC7-453C-B51F-F06CF76760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293B9E-9645-4354-A2B4-CEE42F4C32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FA2EAE-59D1-43F3-A565-8A072CC468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4C4D20-1E08-4C63-B09D-BC5EA6A531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DD3512-AD77-4BF7-BAD9-7D44C73D4A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BDBA2A-EC54-4BB0-848C-F853A3C853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84C78C-744D-45AB-8211-B79E268FE6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7E8581-D0A6-40FB-A7F1-466F8B38F5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D0695C-8660-47EA-A8C1-4699F24427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FDD991-1550-4783-9317-9B6387B48D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5D0A4A-90D0-4EB9-8FE4-F67AEACE2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E7E020-8510-45E4-ACDE-81B31E9F0E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B7D78C-C6A5-4D9D-A565-28CB780929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06D517-26E4-4A5F-9236-016CE8E03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17BA96-7D3B-4D1B-9C56-8DD1C5870F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FEAE4A-87BD-4041-80F9-9A3BE65288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FE0242-B4D6-444D-9FFC-A8AEE276B4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5AF62B-AD54-4F56-B728-281D969608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7AF505-513A-4589-BE30-C876E755D2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D229DF-F1C5-41EB-A7AC-A9B66099A9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C8B3B0-3028-4EFA-94E8-CF21AE9578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6181DA-6DEB-4D11-AB4C-2337EC288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A65EA8-C56E-4E6A-ACB6-A1124AABCC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308090-C461-45B6-BC90-1E8135B15A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46DA58-4360-4B12-9101-13D0B8B7BA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EF783B-FD6D-4043-9AC1-B166B12E75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E23D55-B676-4708-A3BD-00CCA9D0A0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FE92DB-8DAA-42A6-A3EA-167A02C479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E24AC1-501E-4882-B7BC-B5A387A041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B47ACE-5C0E-4D82-86B9-14129A7EC6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6C12886-3C7C-4799-8AA9-7081AF6472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D7431D-C7D6-42FE-8522-0C73446A82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0A4E41-6621-45C6-B98B-E8A62EA500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CCA9A8-F4E8-4857-8A06-BC828B9337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61C16F-AE51-4CE3-8C9C-9C7651D2FE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013471-3806-43D7-AB42-280FC1B9DF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AF0611-57D2-40B4-93A5-A495416430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6EC708-156D-460D-95CF-0BD0B88BBA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7199FE-2B64-4769-859F-AE739BF46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D46FD5-AF94-44F4-AFEC-F16303C1F3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1391F1-40C5-4E74-B453-C4D4EEF91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C887AB-D17E-4BB5-822C-176D42B243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7F8C4A-2848-4F37-855E-956CEDB48D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823B57-E859-4A1D-BC78-9D97D78ECE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D2DF3C-8A37-4C0C-BF34-7E49320E0D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D2E942-4F32-4025-B3A2-5BAC1C5398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C68C4B-B6D3-4359-823C-BB9C4D93A1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E2CEF7-463E-46A6-B29C-BCF72B0546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8C842A-F576-4CA9-B65F-D219D543CB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725B89-5176-40C1-8104-18CCCED5A2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8CC05D-A7EC-44C6-83D1-EE6BA13B71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F883B7-E7B0-42DF-9B22-AFE0E76A83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7CBBE81-0089-4AB5-97EF-6215905C60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6B17F1-A91F-4D1D-823E-83E4568316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B94AD7-8E43-47A7-99B4-E35A206E8A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7463F3-C88A-4F73-A436-CCAB6CD0BC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711926-53E7-4588-A0DE-6E9CF27074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9CC1D0-2B60-4C62-80A9-18A4FE617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5632CE-88CC-4578-BDEA-CC505D3C71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C2FB40-BEDA-44CD-8CC1-9B0CE8DE9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B742CB-C448-4238-BD93-ABC73FFE7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F002F8-8102-464A-B883-9499001288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836CD3-FA77-479F-8105-208E58286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AE6159-772A-42F4-98D0-A9CA84835F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4F06B8-30F8-4C5F-9D00-E4428F59D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3033C7-0B53-420F-BDC4-C5B95636A0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C4D9B1-D32D-4BDB-823B-53598A4D4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803B53-3294-4D32-9D8A-9659243CE2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DF4144-A6DB-485F-9E4A-A5CEBAC967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214915-B108-4C67-AD5F-AE3B58089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43F9C4-03F4-48A7-8FE5-E773672AE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EFA7CB-F354-4E8D-8E8D-31D017D75F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968399-3F11-4426-A312-37296B94E3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F38B3A-0514-4C92-AD5F-E1C95B9157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D95E28-E26F-4DA3-82AD-F886FC49AD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8F4917-B046-4490-B853-FF6603518E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6DDC15-EB8A-4259-9629-F25C77E5A5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8BEC0E-B9C4-4313-A5F7-ABAFE571BD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43C0AE-EC5E-4FAC-8210-274E45E9F5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28E6D3-9C51-4CE1-A1D0-EB879AB957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9EBA79-394D-4AA4-9B62-D54BE7603A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8747A5-FB1C-43A9-9092-40134867D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2047CE-EB25-48BD-B16E-FA4F9B3F7A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636495-FE4F-45E9-84BD-8304F24E7A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CA55ED-C47D-41F1-8360-C267961078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68D499-FECE-4298-96FC-ABFCC8E174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C36B67-72AD-4FB2-8B0A-37E4D6CB36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C912C21-A6AE-4AEA-A11D-9ECE79A8BE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1F9A3A-4B9F-4E7B-9C78-76C2149596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6722EB-D209-450A-BAD0-8788C28A7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199DB3-C438-4CEA-94B5-093907465F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06B918-4539-4E5D-8911-6148FC081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A39388-6E21-4083-8423-4547CC762A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B7925B-C55C-4CAE-BA27-30DFB0282D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58B70F-30B2-45B3-B895-78E626F77A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B958A4-20C7-4527-B1B4-FC8389C3A4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4DC240-7972-44C4-BCF1-00AE126126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4B7A04-16C1-4BCA-A7EF-E7EABFA28C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6D07C6-EF00-4910-8627-EE568CDBA0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7348E6-D28B-4B6A-B7F9-989D5EA99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0A60E7-B578-4421-A65B-8183D1B7C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AADDC4-8D56-4800-96F5-B6849CC568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A5DD88-4E9E-4417-B23C-682B3BAB63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85C556-E450-4E7D-90CF-53E592A76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B3F36A-A58B-41F0-8229-A1E30FB251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CCEE63-136C-4E42-A99D-41A3A5FB99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BA6E09-0C3E-43D8-9EED-0B035BEF51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5E2BB5-B371-46E7-8AC1-69A14A42BB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0D06B4-05EC-4F11-8547-B514EFE9A0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CF5D249-1329-4CCD-9CF4-F401527FE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787584-D3C6-4F70-9337-84222C031B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256ABC-8E7E-49A8-9DF6-2188178693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5BB383B-9ADE-47D9-9A15-C238080EC0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FDE2A6D-4D78-4969-B36F-65C6A67F66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C05F82A-1EC5-4527-8960-1E25164988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A64D430-C594-433D-BD9A-2569B08983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416FAE2-BD18-4EC8-8133-11E744DEC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51E5EB8-4199-4F79-95CA-7E370A4E8D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20B9B65-0539-47C6-A93B-5EF69613BC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A36ED73-D30A-4BB3-AAFC-EA71FE0A12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CEEB63-10CC-4531-94D4-A134A20478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37F314-89A1-4151-BB12-FB16348ADB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71EEE4-2B45-4E09-B827-4DB81B35AE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145315-5E5D-47B4-BA95-E401260136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FBDD9A-8172-4922-BF7D-F7D43F535F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FB591A-1846-46F3-9C28-2B4A22CC4B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1EBAF8-759C-4D6B-AAA4-FB782E299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16E7BD-7966-4F3A-B8AF-C57DAF2067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E0B498-F970-4AC1-AFCA-4C9974479B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B391A6-C9D6-47DC-BA01-717B30B33D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B86EE5-8D61-462F-BEC6-2F7E7F56A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EF4D66-CEAA-474C-AD09-4C7108EE3D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67DB1A-D51C-4ED5-B8C7-4505F1B80F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2054D6-EF01-4EF3-94A6-B218C3CFA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5730A96-2340-4534-8DA2-98D40C944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C8AA5A-DD58-4EBF-AA62-DFB425D226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6C5305-F87F-4071-991F-FD80D9B78C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C4E904-0C80-4438-BFC0-B36ECEB24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C72055-2BC0-461F-99DF-D657C338EA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CBD8FA-5C92-4EBA-B4DE-6D53581E76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AAF4BD-185F-4DBA-BA39-2B18836BC3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5C4B13-B0B5-425F-9DC2-58BCB824EF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B1CCB8-6B83-414F-B9A5-F759A6B7CA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31D94E-AA74-45DF-88AE-820CEC71E9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92C9DE-C9FB-49C2-AB0E-CA0DB50B02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ACC399-6DDA-48E8-B103-5F7B797263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CCB684-20D3-4308-9836-DCD0B7B13B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DB1160-A955-488C-AD19-AA6EA2F02C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C10C2F-4868-44C0-BD00-CCB3F9E0C7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50DAAA-1AAE-4659-90B5-F120E16B43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BCE810-5FFC-4F86-AA96-F56D294E30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ABAE0F-8A85-4254-A359-A78212EBCF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766806-82E3-4F78-8C2B-1921983EA5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97C243-6491-40AF-9A9A-D229C3641E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7DE039-88DD-420F-AE9F-078FCE5F74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AA7306-65A6-4DB3-9258-5E5BC8E79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8DBEFD-2D23-4B4A-A8E8-D7F8777E16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9EC94F-3D5F-4D4E-ACB1-577B0977CF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6CDD27-730B-442C-A6CB-5481F29D60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0B15BE-BDF7-4C90-A9B8-D67B01C5A9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468F59-0539-4DFC-9C21-46D7C8ED44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DF3039-5A57-4E4C-8881-0E9D7626CD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4A8E5C-5212-443C-95D3-087159E1BF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0BB4C1-9D54-4DE6-B46D-96EE90F57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41A371-D086-4979-849D-E4DC99A406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A3D886-92FB-49FF-A137-723BE9558D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CAB2F4-C5A4-4082-882E-099119868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184984-6232-4BA2-AC97-1191F4CCB1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ECDEA9-7E3D-4BAA-80B7-F84D906443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A1F13F-0EFF-4B69-BA60-F12530CC83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1EB2B9-9258-486F-B312-1D44B76E4E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66F59E-9B51-4E41-A37A-C182776EF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B6B4CE-9EDF-4B81-BDCC-9E75FE56C3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06D8C6-EB76-4F7D-A2C8-528E8DCCF5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15E059-167E-4C49-B7B3-C493456B72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E62DE4-84AC-4E75-8885-F70A75BCD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C87B13-9237-49A3-81EE-B428B96030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F3D7EA-CDAB-4424-806F-5188379E83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3FEAFE-B75D-4317-87FE-3C72C1AB89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D9FEAE-77E7-4003-97E2-4D1A97DE9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A60869-8D59-4A4F-BB02-555CA8FBFE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141CFF-3B50-4EE2-BDAF-D1441CA6CF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EA33B4-95CA-4724-8080-E2D56612ED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C4176D-5076-4041-BCCF-0C24DB0F8C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2ED300-79A4-474F-8EC6-C4FAEAD452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0BB772-51A4-4C4D-82F3-9025FC625B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CEDB34-2F37-4E52-9490-BFD96FA346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D54791-5181-40EA-A20F-2AE2947A94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C1D398-4298-46C1-AE43-8309466698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AE2C1A-E09B-41ED-8ADC-A8E633A05E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A2A1DC-6652-4819-9851-C957C52509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9A0478-3EBE-406E-B41E-F996399066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77C13D-D523-4105-945D-3F7229DFFC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737134-256E-493D-ADC7-7C093327D3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C8E552-0874-4725-A3B0-EB12DC630A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A8A4B1-9C75-45F3-9FF0-9AB5C3D1A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984157-DE6A-447A-93CF-4EAD66F630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689C24-D036-47AE-83F2-CF0E35858C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2EBD02-5D18-478F-8349-4219DED049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2DFB7D-6E1F-4A80-A8C3-E1A16333F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CAFF4A5-1730-4DF4-B132-73CD623779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9EBDCC5-8D7B-4194-9226-B49A3CA7DA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E77155F-C3D1-4B82-9EBA-09C9FAA2E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F399818-2A78-4B63-B4A5-1CFA45A9A9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0E4B57D-F941-4546-89ED-E1F12F6587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C1DC6B7-846B-4E3C-96DC-275F54963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CCAFDFA-844D-4117-B94D-135429408E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92AD4FE-E576-4474-B673-219694F6C9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E2ACC9-4D6B-4159-9683-F6308C1207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8043E4-70B3-45DA-8E2C-0513846D95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DD15E3-F4E1-4BF9-A0A6-DC75C5F2DA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BC2D19-1080-4B61-9DB2-14C2F5994F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68A28A-DC76-4347-B139-7BCB3E7D6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C3BA76-795F-4479-A999-9DDA5274DE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BCAC77-820E-4D9D-B412-B191E788B2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A9A099-15BC-4EA8-9018-FDD9E54CB3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70929B-AF53-44A2-AE32-1399590570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394DDF-4615-4E58-B3B8-7AF75AC02A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0CCF5E-382A-4591-99B9-46CC344408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3B5E47-69F9-424E-BC3D-1896BB1E1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45A5C5-16A2-493F-BF01-614E601D8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71B88C-9307-4379-A4E8-D6FE3BDB96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1F9402-09C3-487A-A174-CB0DF60CD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9BA459-C44F-4ACE-92BE-243729DF7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3357A4-99B7-4052-80FE-25F4B18492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B47D1C-2908-4C25-8F00-71BDF12B11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84EAF1-02F4-4BDB-8155-7FF0B168FC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208414-D42B-4CBE-8BE3-186BA4F010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972C11-E6F8-48E8-ACAE-93AA325009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1A3184-D7D6-46E0-A5D0-2E793CBDC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D77602-356B-4954-9B4A-D2581EFAC2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95BAEE-8BBB-406C-BEF5-E7A2020B35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E12BDF-038C-4BAE-9295-7A275B2F87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281AA0-05F9-4D37-AAA4-F41BE581CF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E474D5-2C31-4C13-8670-83A69168BD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908D99-3B61-4127-8835-780874FE6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C89FC4-2A02-4D3B-AC4B-D27AD2C87F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0CB399-CC7C-4F3A-9992-6FF6D6A933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C0189E-8510-4F5B-BD13-470D46B5FD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E4E1C4-BCF9-41DE-9395-D072DA86D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55FF07-2DAC-460A-AA6F-C415CDF90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65B4BA-D37C-47DC-983B-1D90E4FFB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704BF7-B33F-4BF1-A4C1-33AF853769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13B6BF-A200-4BA5-B4DA-BF22DE1622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026B71-6428-44D2-AF92-3A860BE172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E4C894-CE2B-4F88-B4C8-0EADC25C87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996790-DD16-4CBF-AF07-8E01495BD4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ED0C8C-B953-427D-BC77-82B2F2D25D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2E29C5-8163-4263-910B-A283DC2C92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AED2CA-5FEE-4AC9-9F3D-E491E4C744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6CA2E1-1A89-4F86-A518-841E76680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252986-1309-4323-8B99-88EA7CD529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8DFDF4-FC89-48FC-B636-8EDAA6DCC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E2A365-D20F-4B8C-88C7-C3E5A58500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A329EE-68E9-45C0-A30C-E7369910E8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4024FF-460C-4B70-97AA-7A34AA94C5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99E992-7474-4217-B98E-F34C443884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9C5B79-8DD9-4644-AAD4-078E9BE940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41CCAA-06E8-445A-BA62-CEDEA069B0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BB3ADF-F549-4C3C-9FD3-D19A1A590E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FBE78E-364F-4778-A59C-0A46A8EBE1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C56D7B-AFBC-4FCC-A698-10BD88D78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7B0B79-D718-4561-92E1-88AE63947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69F7F4-664D-4E79-829A-763935B816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AE15B8-1DDA-4636-B6B2-234BA510C0C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2BF9CC-F8A6-478C-80B2-FD208679CD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E4DD1F-8D0D-402C-A711-F92F442083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D646B0-8E26-40DC-9608-DD77F9A51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C37F0F-F3D9-455B-8DCC-200D07737B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FFDFE3-059C-4A0D-A6F5-50FA0A0D09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446A56-AADB-4DB3-BCC5-387567A388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DEF33B-8A66-44BF-8E30-464D42A9A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4E625E-B12F-4BD4-A15A-2751BF0175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616BC3-0E09-482B-89A6-1E79435A21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AE7AF4-222F-4873-9E1F-4746210D52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4A133F-0BA6-4717-A61A-B79CFA2F3C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6546EF-883B-495F-A3B6-87E7F46131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40EB9F-7F82-4382-AA33-FF57B5642B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ED3811-11A0-40B2-8504-FECE4440F7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DAE711-B3D0-4D48-967B-0FD0116FB0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7C1AD1-3194-478B-A9B2-CBB88C426C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E9792C-8824-43A9-AE79-0D5C0A74A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869206-4E90-4A0C-98AB-B244902E11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9E83E3-17F5-4A32-BE53-3BF4EB7E77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3977CF-261A-43E4-A5B8-3286F27A5F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1DDF72-063D-46C7-BCD1-52D0CE007B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1400A9-7374-450E-BBA7-6F320FB802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E9E1DD-16E5-41F2-83E2-2AF7BCE4FE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BCDC59-2921-46CF-B496-56FD37C1DC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240D34-F460-4A87-8F99-7818512484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3EB223-63AF-43B8-A991-C389402AF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1C4D18-8CDA-4840-B189-7379423FEA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CB4A75-8CCE-4988-9C80-8D956121FF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9A8253-3D25-4705-B1E5-26A105269E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F424AD-1B97-4B09-A433-851EF6C487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7B4477-2FFE-42EB-9B33-1286DC0CDE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F774BA-1E7E-4DE3-A253-9E43428DF2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1CF780-51C0-4C49-A69C-4BF808E647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336B7F-A31D-4523-B25B-BCC4FEE997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238957-066E-4687-8A7C-D56968FD9F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69AC5C-59BD-4B90-8339-5644D9E525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C93793-F57A-47DB-99E4-B3D2ACD05B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2E00A8-1BFB-404F-B163-9BEEA62547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FCFF2E-6747-492E-A13A-B2AB73837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C47F7E-640D-4224-98C0-D72DC28126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5448D4-2BC6-44A2-B2BF-262C3068F6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1C801E-0616-447C-B779-257D860BD9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559A2A-C5DE-4799-A942-532D49EFC3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1AFE39-4ADB-47C4-BEAF-8A4D22EE40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43C6C4-5B10-4C03-A4C3-6370A2F87E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B03A6F-6790-4E71-82DB-E412260632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7C17C6-D67C-42AE-90FD-C0408C074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5ED1BB-C433-4988-8017-721BBA11C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96CABC-7FC1-4D38-8CBD-2716CA2108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185C33-4D03-425A-AF43-6CEC9D4B4A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B8307C-7916-42E1-9B61-E1A1E109F6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9B0CEA-1A1C-455B-9D49-0452964D81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9DC82C-C042-40D3-B0EC-E052A05ED9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9FB9EB-124B-4E22-B0EE-20A3B6517B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CAC378-3811-4006-A1D2-C4E95C7AB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5A1071-3230-488A-AAAA-BBDB24B8C9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95AEF9-AE48-49E4-9AC7-98C9D107E7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B85196-C746-4B97-B285-E28B978440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2B72CA-5616-4063-A889-B566BAE23E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FDAF28-2313-4D5E-8869-677CF247D0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C749A3-587F-491D-96E6-14C0282ABC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D68D97-BD06-45DF-B55A-65492D1647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C00461-E988-4FA9-AB9E-F976B6444C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EAEAFF-79ED-4FF6-B76B-688410A26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F38F94-308C-4B73-B94A-EB89B9EABD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00A266-8C6C-4E2D-AC95-B94EB5817A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7E8C18-1783-478C-BF85-31FBD5B33E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E74BAB-336D-42E6-B948-D72532C0DE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EC6537-77F0-4E8E-8EF7-06C63A5F53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226D01-35FD-45CF-B48A-6A805E1542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244D52-C94C-4E34-87FB-18A40160DD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C7EB51-56EC-4944-8B42-FEDFA0033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E35FA1-DD93-4D2E-9734-DE8C6120D3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C3D424-934D-4C98-BBFC-7A68E48746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A05D31-5A99-48A4-8F61-EEDFC160F8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4D53C7-2088-4DD3-9194-214B3DA869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975DBC-C5AB-4AF7-932D-2481EB8B14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59DA87-F230-4DAD-A766-E4E9053197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D73D81-1755-44B0-9817-B4C7FEC011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C8054A-3B72-4CDA-9E55-8057CB25E1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6B2829-AC85-4083-A5B2-F03339DC35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DB890B-1C45-44EF-A1CA-4DC189387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12AF1E-61C3-4F24-8085-DE7D9A1497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8B854F-ABB7-4016-9CC5-37FB0AAB15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033219-A416-4DE2-865B-B63EB6401B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83C127-BD05-4808-A07E-F968577A3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862770-21B8-41A8-953C-C96BE4FEBD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E597E2-6A5F-417A-A413-45750C3AB7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6F30DA-1452-4EF6-B931-0B2DCD8A1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AF9563-AA23-474D-8A74-77BAAEFBEF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292296-3AC0-486B-82A0-6E858F75C8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F7C0A4-19A1-4FA4-9298-1298683AAD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6D68ED-CDBB-4B34-9C49-D0F4CA9EE2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29F2DC-7351-4F82-A320-30347B09E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A92236-E57C-4876-B462-32212EA62B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C0B154-25FC-4859-8231-45FCE4E67A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0B499E-6CE1-43A3-BFB9-BDFD7B6838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D4F3B9-7F2A-48C4-8B28-1EE759FD33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E519F0-FAFB-456B-9063-ECACBA337D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2E130D-7391-49A2-9421-3CAF5E1A2B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CF9DD2-3DC6-4EF6-B622-92C14DCA03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48C734-86E9-489E-866E-7520E6A39A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466D91-6AFF-4681-99D8-9CF5E855AF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0A7CA3-2CF2-4C97-92CD-F4A507794A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74A27F-42BF-491F-AB37-FFBFD1E605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312AF7-28F7-4680-A0D7-D229999568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5C3DAE-A3FB-4E64-96A2-AA8EA4466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20E0AF-87E8-4EA2-BA42-D426E9341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7D20B29-D632-448C-9ABD-D14F8B980D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13C0FA-497C-4C3E-B8FB-D881219B47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F20B94-7CDD-47FC-95FD-B32019C6C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DFBD6C-3E48-4182-9649-954BA3A5D4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2A3457-2655-4EC2-B4E4-FB2431AB24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2EB559-ECDA-44E0-B399-975597674F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97F2C0-8141-464F-88AB-E14CF65547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00C118-9071-4876-8B29-1D5E01F22A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94DD3B-7940-4B44-A47E-2B37F216AF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4BC9ED-B02F-4264-BD4D-CAF584C7CA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CFECA1-3CC7-4C10-817E-FD669C9097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10D7C17-8777-4D65-B8F7-EAE329B620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0126364-F9CF-41D6-B183-36E84A3E86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81F013A-B6B3-4944-AAC7-5E70172969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3FBCFB5-70EB-48A9-BB0A-4960DC7C23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066AE58-FD2F-4D25-A73E-0BA1A0A124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5135B62-3E93-45B2-BE35-6BFF3BA11D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C61D695-9F96-4990-A08D-EA96A2041F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16CAF58-2B55-4573-950D-3891715070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A2E963-7EFB-436E-8700-F6B62D8AF6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C58F74-A8DF-472B-82F1-C5DD98E48E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6DAFD6-EF88-488C-A320-73E4E7C512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4C83B8-A4DD-48ED-8697-A1F22A001A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73FA0D-C0E4-4C27-AFE9-5557798787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08F7BB-B9BA-4F40-A0E3-9F4A304F43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50C1CE6-7987-4CD6-8BF1-BD1C3368CC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DDADE0-F429-41FC-85FD-8121065577B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0B5397-04BC-42E2-AF4E-2866CA2B1A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203E45-06FE-4CD1-8169-0CD005738E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155287-A15D-46A6-AC1F-A32EA16767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880710-E0C6-4C46-AC95-1C081CCBD5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424C56-9366-4C7A-80E5-C34C79FC81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C21A01-9B06-415A-9133-BF86E734E2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D7569F-B92C-4979-A0C3-88BF8B91BA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720383-D227-4805-9AE3-6DE354D826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B7F8CA-C2F4-462C-A13D-692971AADEE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3A14BA-685C-47CC-8FB6-A69F80232B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E6862E-4FD5-4B6F-B434-3F8A262F4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1246E1-E6B2-42AD-BEFB-E1DA696F1C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138D9D-164A-4C6C-8B5A-0CF74A8B02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BF6A82-9AA0-4D29-8D78-748874930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14BFD0-5A85-4D11-BD02-0B8DD956D1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D98A02-D8CF-490B-8131-BDD6D484F4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56FA2A-8331-4C26-A58C-8A78C0B488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5FABF9-4D80-4D93-A251-3372237910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2C3A80-91F5-4ECD-89D8-49F52CD1B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B4636B-65C6-4405-8058-712392F1A9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B3E4A3-C74E-4B65-8B69-3BF504B10E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2C71C1-20A1-4AC4-A74A-1688212C9F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18A651-088D-48C9-A6A6-E34F8D215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462FA9-0016-4D10-BC87-595F01D06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D315A5-EE15-4B82-979B-427BD09F1C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94F810-B262-4C38-8350-3C4BC8216C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3C0078-B437-467D-8D54-86435E6414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D55B62-6BC6-425B-BB5B-A6D2AF30ED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1C3FB5-71FB-4A17-A77F-ED09A35A3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8474D5-F858-4D3F-845E-A5307D23BD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345F76-36E2-4FE6-B9C6-F411D1DFD5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6BAE40-E3A5-4315-9480-79D6D3F80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982C28-CFBE-4CBB-AAFF-C15138C7B5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7A70CF-7351-4821-9D96-9C2656C0A80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CBA867-6C7F-46FD-A549-3F1AE2CAA0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E634FA-8993-45AC-896A-E883DC8665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4B29AB-6C66-41CD-8610-CA3071266B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4C02DF-B43D-493D-B70D-DF0DC8B357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CE7389-23FE-4DDF-A1BB-8788450645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241871-044E-4223-B215-0C8DE146C9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08F26C-6E94-4FDA-8E14-3299CB97E4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07438D-F363-47FE-81AE-BACBAF2070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19D711-05E7-4DDC-B9F3-A0E81E336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EBB715-94FF-44A3-9981-CB1D2B1C30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3FE3FB-2150-4169-8137-322DB0ABCD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B6674E-1D7D-4F7E-9010-1132A22C1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97A66D-9007-4EE8-B5E0-E0F63EC9EF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B06B45-A0BE-4E2E-99FF-643BE1706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5B26E6-CCFB-44B3-A910-EA9A5CCDA2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E74B07-52CD-476A-80A2-67B92AE853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92305D-0B09-403C-B300-66B5DE42F5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6516D6-2ADC-4031-A3FB-27194B31AB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C111CF-37AB-4F32-853F-12C23AC62A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B3E11F-4974-4A32-B477-443AF9F1E2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35B2A1-1F1B-4CE1-8AE3-D8E80F66E0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BF2152-9054-4B70-84C1-82E45283BA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651A3E-0044-4119-80DF-8FA6605C04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7E093D-0D3A-45F9-9471-1542EE1267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586FF0-4BD7-409D-9A0F-6BA9640209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704017-4AF7-4CB8-8F50-9A8BB1F302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66148F-CE91-4F6F-A287-E45693A465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0EE41E-FB8D-4F1F-BCF1-DD154EF5ED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2A3FEB-62C9-46DC-B2BE-5928FB6729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2D8CDA-3318-4A7C-9FA6-BD065FA6C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22991C-C9E2-4310-A0C0-FC5E90EC78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843F7D-2399-4395-88EE-29195B5654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00785E-91B3-41E3-B672-23F39A54E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B513F5-8ED3-40FB-ADCD-EA694DE3A4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C4D1A4-8A50-419A-8AE1-7746F73EF6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FBD30F-AE7D-4CBF-B509-AEF46698F2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E1D8C0-F99B-440E-8303-73E2FE0002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11144E-0CD7-4465-9C4B-2FBCF7DA0D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4387AD7-C543-4651-9EB5-BD40A9B6BF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55E813B-ACE5-447A-98CC-BD5BC7594A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4B6FC7B-0EDA-4606-A446-089E2338E2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3084562-371C-43A5-B730-62F9BCAB97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01EBA8E4-2A87-4569-ADFB-994EE52B36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CA28537-F2CC-4583-B812-12CF384FED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F08EEFF-F7D1-45D5-A680-126004216E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92C30A1-4229-4DAE-8E16-D0C2BDB419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414113-62F7-4F20-B777-6063E240C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D417BA-82D1-49F9-8E92-702D118FFF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C05568-A617-4902-9E30-4F6E76A0E2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DAEF9A-4336-44D9-A2E7-2258CBF4F8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06C2AD-BF37-4016-AF16-EE44D8735C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73E2B63-1ECF-4897-AC17-7A876C96A1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C15143-A2BC-449D-B10C-73A951F713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E307BE-A5A9-4063-A761-435436D8EC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A5C65A-95B4-40C6-820F-7BE011C256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CA90D3-CE4A-4826-BCD9-DECFECA7A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F3742F-F521-4DEF-82AA-E474C4340D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DBB946-2169-4FF2-937C-878F5F0193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1B3547-0FD3-4642-BD62-BE19A41CFE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C67953-CB46-4D64-8536-7A73B25E7E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A4B23E-9F6F-4D80-A8E2-1A03235B04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E1EF8D-49F4-4876-BBAC-FFE4AE712B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AFBDA2-6921-44A2-8892-161ABC681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602799-95E2-4168-9673-3382E5ECE6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E01CFA-52A4-4A5E-A033-7DC703FFDE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5432C4-B31B-47BC-8505-9BF009D415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AFA016-562D-455C-B92C-EE09F9FBD8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077ED5-9E11-4D66-BDC2-B880D0E58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AB1E0A-63F3-4762-8289-907CC66B99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B4973D-6BE3-4E6C-B386-8D39784CD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22C50E-3E36-49BF-9B57-FF120A9D8C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56A586-25E1-40B0-BF25-E7A4A3D5BE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A90247-0FEE-4E9C-964B-A9B76F9F6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5D406A-FA76-4C3B-99F6-DC424080E6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2E4A63-B1DE-47B7-B082-56E396E668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387593-064E-4282-86D4-2894DCBEF6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37CE4F-D5E5-4CBC-BEBA-CA3EFAE8A3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54243A-6C8A-4E8C-921F-B90417E6A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67CE6C-5A64-4B4B-8F4F-898ED01E42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B240F6-EA86-465A-94F4-8D36024F9B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8BE4AB-D075-4382-89EB-927764B6A9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23B5E4-689E-4238-9D96-5F7620F6EC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4842FB-2F17-4D21-97AC-6ED04C34D3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073125-92B0-43C6-871B-68C252AF56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3B40B5-6844-460D-84A9-8432FC996D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38DF2F-14A6-4BE0-B7F7-02F7E7637B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E7C0F0-7213-478F-98F0-2DBC08DEAF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53BAFB-7D0D-4281-BCF0-E4D73A371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25A5F6-1A52-46BF-A5BD-87B1C01391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35B18E-0BF9-4CC2-A3C8-193BCBFE27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9CD1F2-D1BE-46DA-B7F2-95389EB58D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521449-C415-47CE-AC31-1118F5A659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092F41-A83F-49A0-89AA-8D172A2DF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06FD20-C0E5-428F-A161-50813CD8B9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5BD517-C361-4CD4-97BA-BB5AA6F1B5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D0AAB2-46CF-4614-A207-4277AE2CF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44C24C-AD5D-4FC0-8088-BBB6DA0BD1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A0EC82-9A17-4EE7-8D1C-164DC5411B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9CD7AB-A5CC-4322-A28C-AB745FB87D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72BEC3-E7EB-41E2-BD91-BDDF02C6E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15D5A1-0683-4EF3-B6D0-07C053BA8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3C1CD4-B0DE-4422-BB70-0CD868F2E7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036524-E223-4DDE-9536-37D41387A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3DBB5F-BAD2-4814-8019-4070356AA4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41696A-9486-4D8F-8E86-16C204F331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697B2D-EAA9-4A86-8C0D-7895DDE7AB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CD7629-2067-4DBB-8E8B-29D5A0E8D7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D39755-419F-4B58-B429-DF7BCD8B82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4E567B-DCE7-4DA4-A192-1609A1E143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C41E00-85A7-4A8B-83AB-878CD44051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AFBCCF-C97C-4F5A-9A79-AAD1A97416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E521F2-A65B-42FE-BB5A-1C21B896B6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7E79BF-8DE5-4848-A604-9D950AF28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8A8C71-7D6A-4C3B-BD09-FAF0E31E8F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A6E89D-E063-440E-925B-0D1106E923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CE0F11-1C4B-404F-A226-63EF30B53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63DDF5-0A1B-4E4A-B0A9-E6D73FAD2E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18C829-60E7-45DF-90BD-55CCF2FC7C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BF3706-69EC-4E58-8941-A7BBC615CA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60AB3A-C940-423D-AC44-6B36E5A7F8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DA1962-6991-4649-8A2D-BA83F0603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9FCD0E-80E5-491A-B2EE-AA162BCCC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0F95CC-1DFE-40D8-898D-5CF20E95B8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FDDEF2-652E-4589-B707-04FC3E1D3E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B10F25-94B4-46C6-94BC-87984C8A3B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EDE01C-BCE6-4B96-A1FE-805E768DFC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4EB10D-267E-4D92-BDD4-76260E255A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29F7FD-0238-499E-9DEE-AC3CE6D046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3D491C-4509-4475-9E38-009F1E71E5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9C6DF0-3C93-4CCE-9743-825EB84C47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CA3829-98CF-4F37-903A-136F1C9BA9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990EF2-7F27-4A45-8591-8772F7038E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2426D13-4FA2-431D-804C-3F485001C9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CBF9C97-BE6B-425E-85F7-3DA85E13D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1C5273-B365-4391-A82A-D9AC6D305F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8A67C9-DA3E-4C7C-BA02-9C57007E34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FCCD53-1209-4365-B848-FEC7D0303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2F83A9-5CCA-4C9B-9DEB-FCD01B8087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C53540-9CBF-4F4C-A472-01BC9D0842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BE3F382-1E7F-437B-B852-EC7FE27722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B021D5-F51B-4AD5-81FC-D2FCF3283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DCB8E5-461C-489B-BC92-2CEA506A76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B6CCCA-9E4D-46F5-94A4-ECF442E00B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4B6EFB-D657-4A31-B81A-ADF11BE69F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4A09D4-165D-42FF-84CA-FDA349E7D4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3C5E1E-9A64-43CB-8AC9-05E0C2C352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5E75D5-C429-4A4C-9715-6D0EF4F40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C8FEE9-70DD-49C7-89BF-DE903E7594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89ADBA-8F1B-4C84-B0B1-B12D798974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F80F50-14DC-4DA4-81CA-ADDF1B0488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E53216-B6B1-4CC1-9CBC-163B7C4B49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E3A3DD-F6BB-4AE0-9ACF-1997D73758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E40E62-4906-4FA0-8557-F6C0D903A7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4867A5-708A-4C0B-8DCB-9A3A7E6027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33D2EA-53A2-4C9D-BBAD-2EBC1D33D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7B9BBE-EF28-4807-9F42-2780A4615C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0FB3FD-F224-48F1-BD56-B15CA92920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DBAF38-E1DB-472C-BF1F-59F20343B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B6BFCD-24AF-4FFF-B7AD-A832E464AB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49C336-5328-41BB-ACB5-E4F0EE2E8A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0509D8-C37D-4854-A67C-982732114C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BE24D0-B24C-4ED4-9417-88A4DEF818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112351-D3AC-4075-B8A5-F49D07728D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8FE1E4-AB5A-4310-A3E4-BEDA2EB87F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4CD149-8961-42CC-B729-BDC9DF2A9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A3E009-62F3-4F45-B1D3-5BF7323024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60D6E7-4FA4-4BB1-AE50-8DE0DCFF7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1757FA-73E0-4C39-A524-2C433A0EC7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2F4F21-2F5A-4E90-A91D-78A05E8E66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71DE90-152E-403B-A954-E02A3A7AA4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95DDFD-9E2E-4741-935D-9117D57DC1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B945D1-BA71-4590-8D9F-E64991664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17BEC2-1F0C-41BE-A6DF-1F29A510DA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387C74-D9CF-450C-A5FB-3173ABDD90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F8B1AA-4D17-4FF0-8716-031D2D6D8F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D01B40-0700-49FA-A347-3A18BDCBEF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D7FCE0-B72D-42A1-80D3-7F7D47652B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56BF31-5739-42AE-9E4C-596DE7D818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453B3E-0E2E-4635-A09F-88572ED1F3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57714E-A0D0-4563-98A8-E7FDBDCF30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5FC6A1-3CB7-42D1-9688-5C67808A03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DE85E4-15A4-4C56-8BCA-CAA0FC6509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88E2CD-68DF-4359-A95E-DFA30F480D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486D1A-8C6E-4B4E-8915-003C4F4D0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B712E7-C4F6-48D8-B2B5-D2B90E4835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A6F9A6-7F5E-4530-9B94-9A7B84131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ECF5D3-4F11-47D0-8B72-38063097EC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1FDFE5-AEEF-48E5-A4ED-20A9403451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BC3A53-AA83-40A6-B524-F9FD53D604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36CCA1-C3CA-4B8A-9598-E4F6D8EF9A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8A449E-8C8D-4240-94B5-6D6CAD0522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6D257F-B5F2-4240-97B3-7468980A4D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FAC82B-95F6-4088-A167-B2FD4C08F3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2C58E9-D396-4B02-BEF5-BD436933C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8F7E63-D9EC-4245-853E-D577ABA70C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A61EE6-D7A2-4312-AA01-EDEA598486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343500-837C-4FF9-A3E9-B2232CEE8A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8A58EA-3C1D-49CE-A28B-260BACCC598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A1C607-67B3-41A8-8686-694B2EDBC4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09B486-B5EE-46C9-9C7C-83959DA573C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C26F1B-EEA0-4528-BCDB-AA46A283D7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016B2F-A490-4D72-BC53-98EDC34A7F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F37EBC-C650-4854-9E06-3354CB968F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C74C79-ABDB-44DE-89B3-8B1D10966B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756B98-C9F1-4121-AB06-EAE4EC1888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0FEE02-3232-4B5B-9470-20B3ABB24E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F8C58D-6392-4CC4-B40B-CEA4E2065F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6C4D72-D452-4C0D-9601-D351021E1D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5381D7-ADBF-45EB-9CA0-5ED9A49224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7ED3AF-F1DC-4DC2-98D0-F88C296E0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AD66B3-022C-4BBA-86CD-59869CD43F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287355-F13D-45B9-9091-B0A3EA2ED7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2C33B4-AE0F-4D58-889F-0C9B5AD5F8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36C07B-7F95-4CCC-A16E-EA5448A0FC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0321A41-1B1B-4488-9B8E-258117C533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FB7D4F8-37C4-45E5-A0C3-57FF871B93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2F0B96B-92FA-4F2A-A742-942AA94518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8554F66-6479-47E5-9320-9ED3CFC6A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3994B24-B3BD-45AB-87FA-8881C950B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7A87987-8B27-43F2-9340-3F2E83DF2C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0EA75AD-AB4B-4864-AB02-15BCACDB34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4149131-3581-4D6D-A7B1-AEF3AC15CB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6F03FD-DAD8-441E-9F8C-91F3E20F09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7F043D-F39C-4448-AF1E-284B1F0E28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50BF78-644F-4EB3-8D8B-FDFE9007F4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28DC8E-40DB-4AEA-AEC1-1D34CA37E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09060F-596E-48A2-B148-8D351C0D26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7F5559-B0CC-453C-A17F-800FA6E0E2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95B02F-A76D-4CC5-82C7-250A53AA6A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D2CF95-D279-43D0-90BC-CD6BCC8B0C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1136A8-420D-4D42-BEA8-13DAE2F7DA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246B85-76EB-4B03-B0E2-E10E94E293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B83F94-49BE-4DA4-8438-210EE327F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606877-E3C6-4529-97AC-07B800EF0F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0BEBE5-9136-49AB-99DD-9E9816D494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86E1BE-7E3E-4C45-AF98-9715854D6E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336E88-750E-4374-A69B-4389F20A10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6FD0AE-4F98-4E1D-B02C-981ED54D7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A69026-6C99-4FA0-8C48-F32C511091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CCD3C3-51E3-450C-9642-DD2832AB66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9DCF40-CBE2-4899-B423-C0D90F4243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E43BE7-148D-49B8-A6BA-27CD9B6DE7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EA1064-05A3-48D0-9850-398AC42BD4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1BA951-A553-4811-A7B0-BE9DB2BBE9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AF2DD3-A639-4CC8-8E78-332662A047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49642D-A656-4100-840E-7533C321AA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6BC536-FBE6-45D9-8D3F-56034BAF12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7E91E0-BB8E-4A78-8804-7722E3EC0A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90AF03-EB0A-44F7-8DDC-E5442F287A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AD0FCD-FF89-4F0A-9291-2818A724F1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83D9C3-DA35-482E-88A5-0DC9645C0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21A58F-7225-439E-A731-0FA39EFDA7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BCAB87-FF00-476A-8AE6-A3ADF4E5C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9E86608-C19D-44CC-95B9-2687652902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CBCB17-FDDB-4040-ADF4-CF961C6507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38B3BA-7424-4B19-B541-9C04013A81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E58A40-B50C-4751-91E3-46F8B6F4D7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24D622-584A-4009-A8B0-92AD13708C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1DC6A8-409B-4934-9CBB-991D63F10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CBE3B2-165E-43D4-B0C7-11258EC34C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A428A5-A235-4CE0-98C1-E103750EC1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165A86-DC95-43B3-99B2-1A699AEF8D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E1C728-B52B-439F-A0EE-4725D49A4E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8F65C0-2756-4D81-8CAB-1DF3A8E0CE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EAE615-72E4-48A1-943D-B38F6D20DA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534577-EF79-4BE3-9604-0480CEBF95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F98378-4CBB-4B98-B754-A04A1E5676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6EBAED-1E88-405C-B812-81BBFAF5E3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07B710-89F8-46F1-9F2D-6DA855E936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304E6AB-7E5E-48D5-84C4-1F74C96B3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B0F09A-62BB-4FDB-9E07-AC2A53C1AA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AF4198-A149-4820-B07C-5434B2890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DDB650-39D0-4FA1-8B93-08276D1090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1EF695-08BD-43FB-AB74-27404B6AFF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6F9B3F-1E2B-479B-A1BE-D5E728A4FE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A3105B-820E-4F25-A32E-3ED2435A05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2AD68F-61C9-4128-9692-29BBADF2BB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48C0D6-43DA-48C5-846C-741D91A92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7659A5-FC02-4D9C-8A52-18ECD6243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C03592-A704-4EF8-B7E5-21EF41C1E7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E84E67-855A-445D-AD1B-E28E35826E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292503-A3DE-43D6-8D7D-D6FCB29633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0E4858-45F3-4C32-96F4-C9FF4865E7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EFCA55-96F3-4DA2-99B4-569BEB487A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535CEC-8A73-4FC4-BDB7-74B1027494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8173C1-E9B0-4BD8-88AF-078D478CA5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C0937B-5AC1-43F0-BEBA-4E5CFEC7C8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8EA2C1-5108-4653-846E-06A2E4226F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41C7D0-4391-4A3A-8EDC-C7B6273F6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19EEC2-A0F4-42DF-84DC-06DDCDC70E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CBA2DA-7888-4F6C-9F66-9D350C88C1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825AC5-3A37-43D7-8FF6-AD7C8E3BC4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DB3030-398D-410D-AE01-1613BD4F96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EDBC70-BB97-4B30-B33A-86D13A9662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4EA184-4E04-4681-B7C9-8F5D87E2F8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0C3556-158F-4B92-ADF5-10CA37C9DB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EF1761-ED83-4DB2-8120-A2D38C483B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62CA29-9551-42CF-AE7F-BA7E24E09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785EBA-7930-4FAF-BB7C-99CAE5365C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25DC77-EB5D-4C40-AFCA-F7ECCD930D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021519-ED37-4C6E-B566-DF734A4748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CDD39D-5FB6-4D85-9DD4-D97BEA483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87D3B77-2FFF-4DEF-A682-50EE679E50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E8C170D-47EF-45D9-B02C-ACAFEC9F71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4316540-EAED-4726-B6BC-1E3A43B2BF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9DE0CC7-FA3E-4BA4-B070-FB0DC4F9D7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5B7CDF3-4A0A-4FCF-B6FA-2027E45630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2F18FD1-86D6-4843-BE15-4223E7AAA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CD27386-9891-471B-BA13-F9DB911A8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C67376CE-EA69-447E-8C6D-14D347E01D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70B897-A37F-49DC-AF77-76AC44718F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0DC8E2-AE4C-40D3-BBE5-15B116F8EA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F14BB4-4491-4A58-96B5-CD689200A7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915800-A823-4BAF-BDFB-49B758C568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184A5D-D914-40DA-8573-B75464F146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4E5323-A817-4553-BBDA-2764204E1D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F2263D-C477-42FA-82BD-AA2CCEC354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110D19-7F8A-4856-B135-D4C1E81866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D34B9F-49E2-46F2-A8E5-ACB1163CD1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8F74A3-2D16-4520-AAF2-7880570C28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12EDE9-77BE-4E89-97AB-91D68B7A45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1A19B6-B219-4F93-8052-BFFC40942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B72B39-A81A-4187-B089-86C51015D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FD8CC8-6E3C-4F69-B28A-41316CE7A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FBB0AD-F59F-439F-9C05-99E2A9B194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7A8019-2A8C-4F1F-9335-82461AD9B7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73F885-7E57-407C-A67F-B93FAABDB3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FB46E0-651D-416F-9A0F-2106829B397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C4B78A-920A-4450-9E67-2E3D1E7C48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8C6F87-0D2F-4400-AE26-5F0047326A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E80A05-6952-4157-A4BE-AB6879EF2D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3F9E5F-9261-4C79-95E6-2A709E7D04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2DAD0A-7A23-414E-AEA1-61DDAAE96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02E73E-1524-45E9-AAB5-62C6906D78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BADB62-2880-4E71-9E7D-C2A9111B29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CD01F6-665F-4D4E-809F-834772F12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D61689-0848-42C3-95B0-93177CB624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6E5CF1-4C61-417E-8E3A-166DBE298B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6D01BD-BB14-4054-8D65-1163D2BD1D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3B96C3-85E3-4261-BB75-AE959E199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EB234E-521E-4216-8428-CD2B2E9873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01E10D-4DE4-4B14-ABF4-70A01FC948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DCEF86-AD8B-4960-81C4-BDA6E43CBB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ADC6F4-9E5F-4192-A217-9EC9390710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2CB904-E90C-4D48-A406-512E44519A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A690DE-391F-498E-B7C9-1DAAF8C942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73DE70-9C78-4667-A851-9802A1F338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43AD76-B07F-4C85-AAF0-38FC61C34D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36D24E-6DEA-4682-B77B-B6982E9CD1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DF0D7D-12C6-44B5-9549-C367576702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150E5A-C9C3-4F9C-9CFF-DB28C84791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4F90F4-2C2A-40D9-8152-53C2365811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AB3077-EDCF-42FC-8E5D-636D54816D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A2D452-A777-48FC-B5DB-78A88D1C86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389572-F995-428F-BD60-863E7F6426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B6F3D3-159C-4647-B433-6FAF1B515F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36BE10-82FB-488B-B66A-9C26720B34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A99F79-E888-409A-8D2F-8F0E776F869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03F766-1223-44AA-B91B-A2467EE543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4DB3A0-8700-4DC2-A3E2-5ABE7456E3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AD9EB0-64AA-4396-B2F8-3A56AD8428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43B085-F039-439E-8DCE-A063490FDD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AE05F1-F519-4F6A-A7A3-C8D2F2E55A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6B261F-4447-4334-BA95-F61339FA80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DBAEEA-821D-4C93-8116-688CDD2CE0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7F5642-614C-4302-8C87-E5863B1B1C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C72122-49B1-4973-B442-B61624C9DD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B2F60E-F245-4686-A097-A0E4EC3AF1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1BC922-A034-45AF-9117-728835382E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387E11-2F25-46F6-AD09-A612E4DDB0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4A66EA-822A-43F2-AB16-3B596320A4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3187E2-207D-4514-ABBD-2660B25C71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DA5DE8-190E-4DDD-9118-433FBA842E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AC07BE-8B70-457A-B46D-F7FCB529A0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5E5B18-305A-42C7-BD49-6B949F457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97C31E-846D-4D09-9574-D0B886F47B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1A02FC-B70F-496C-A02E-F396C012E3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5EB9C0-D47A-4DB9-A46A-E65F6A2247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57C754-8FE3-4265-A059-E32DD93AAC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2F1708-217F-4296-8392-385630C9CA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38A036-9A84-495C-8D50-DF9898BAF0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C52626-D989-4DF7-B4EC-74132C69D6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6F384F-10A7-4ADE-9644-0942ACF321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18F6CE-CD2E-4C2E-A71E-88DA86D0C7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BB2BEC-DF3E-4E0D-B881-DA2057EB61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0FE3FE-CB18-4C68-B383-29A7714DCA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7EE471-FF1F-4A9F-BDB9-F22BC9E6C8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BD0295-D766-4725-B262-AB87105963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08C0D7-2483-44E0-8CE7-FE57578410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DFA859-E6F1-4254-8979-F4AAF91812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04BF720-4857-4CC1-BE43-D3EE87040C6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7B477F7-4A4C-4461-8C19-D52FBC4624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F43844D-F431-4032-A53F-5CCE356805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2C194846-DE2E-454D-BD56-039FF7840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A45473F8-B17F-4F20-B14E-F759BE884E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5AFBEC29-B250-4087-9E17-1F4D11931E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F7B8479E-BE46-46B6-81E5-366034A738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AD27735F-AE49-40F4-841E-2E0F33FBB5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94AE62-C206-4F27-AEA5-17EF96421C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016C2A-1853-4069-8156-6B2D343788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AD10C5-149B-4CE5-BFBB-8F94E9F2D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F056DE-C2AA-4466-9CD2-DA7668B403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004C60-F370-41B2-99FC-F3D8070F8D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F8FC5E-828B-4A1B-B4C2-A8531535CC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0C3E20-D3A2-4FEF-8227-C28374C27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FAB93D-DEF7-4FBF-BB45-D79F28198A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92A7B2-71FC-4F06-9BC1-2601E51028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9B896B-C234-4DE2-9CA2-0D50EAB9A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F64A0A-25FF-4EC6-AB80-7A142647CD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44D803-819A-4EDC-8262-FC04C1ECEA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E84CE0-CF6A-49DB-ABFE-6A25D893A5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D68412-28DA-47BB-B6DF-91FB7446A8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5E7592-DBA2-44D5-A8A6-32230FBC11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FF1AFB-1E19-4808-86BB-7BF3DE0AD7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FFF1E0-DF03-4AE3-AD2D-52AEFEC6F2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900A67-FF32-455D-93AB-9F1EB8D089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8ED6B0-5529-4A53-B65B-DF39405B84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FBBDDB-42DD-4E51-BD08-45992437A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F3FD94-4DA3-4445-BCFF-E74E71CC09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292311-C21B-4260-847D-2874237DC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BD8322-7536-47E1-BABD-ED7816859A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EAC141-6977-4855-8A06-8AECBA752E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8CDC6B-6B32-4208-B5BD-C53E86F4254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182C0C-AB0B-4BA0-8263-94ECD08C75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EE7A4D-B225-41AA-95D9-186F583451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0CF2A0-DAE5-42AB-851B-DF77452BA0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B9F567-51ED-49B4-BFCF-4C3841274E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2A3000-7D8E-44EA-89DB-518F4A402B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FC4C03-2C67-47AF-A9F2-79DB2B0014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6B9323-A9AE-4E69-B4FA-0D6E1868E1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4E5BE2-EE3A-41F0-A080-B8D8D8EB8E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44D3EC-9875-427E-A454-A31462567F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D1EE5E-DE06-4057-9089-6D480D7304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E7D7E0-A521-4CDC-9A00-FD959C8540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F078DA-BC90-4309-B372-DB8A635BE70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00DD5D-87A1-4311-B732-E927BEF261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188D43-9796-46B6-ADFB-67CA156BB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0FDD96-7D0E-4630-871C-BE629DD9E7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7F3094-D29D-4318-819F-59047D883C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500A08-DEE3-44FD-8D91-217CED1C39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A6E1B7-624B-4120-85E3-2BB604F4F9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701015-9AD5-4BD2-8618-3867D0F26B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6CAF25-A6FD-4A64-9BA5-141558A720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96EE81-4811-4B74-87E4-14B80CAC54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C494E7-80BA-4E06-A1BF-45B90CB942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9CDAF6-EF17-4C65-B9DC-B2EA98F330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6675A1-9F66-4DB1-B4A0-40E95CD177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4A641D-3043-4866-93F4-BC0C80DF97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80B580-27EF-481C-A783-039A25DE70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896022-2863-4968-AEFD-54B66EF7B6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EF52B8-BDEE-4FDB-9FA8-432A9A263B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3E5ADB-A098-4903-98D7-3B8FE0C277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D83173-634A-403E-BD10-23C006E692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AFDF53-59DA-4192-B05C-17F3A9D627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422831-6EB7-49E1-9393-3E427A809C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03D3C3-BD21-48AA-B11B-280D26940A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737AE4-0427-499B-8ECE-D8B22AFA2C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B5074F-12D7-4DF8-9B85-083DB13A77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2B3234-0294-4151-9AD5-14A65BEC01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7EBB2A-4702-40D8-9713-2F48283AF4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1F39C9-BDCA-4AF2-BDA2-0E52A22421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4E33A5-0E90-4940-9A00-90FF5A04CA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E4519B-1FF1-45C7-BFAA-E344F32AC6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29D288-EFAB-4D16-BF1B-F96E8A3D27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67BAC4-4A94-4651-B39E-11191F3CCB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F5FF18-6CB3-454B-AC9B-1EDEE7AF94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1224EC-D5E7-4793-81D8-3D98C2EA2B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360C69-2EBC-45CB-8753-F04B2C21C0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2A10B3-FA91-4219-9643-1570051FEC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FD709D-9697-4C34-B5A1-CF3BC8C1F4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8B2B3C-8211-4938-8696-C44457C28C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A8A750-1D40-4D8C-914C-92D919CDF9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1D963D-CB19-4F2D-8145-C1BECFB983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5C4973-5884-4627-976A-1C5001D212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07C4D0-C9BA-4BA4-BA8E-3F6641948C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72566D-92F3-4FA4-B59C-A45E0D5917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CA313A-AC50-4C31-B42C-7CE38248DF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66165B-E015-4BBB-A30D-D9034C4B7D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F228BC-4C80-4687-9BEA-1C38CBD77E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BA78DD-1EB8-4509-B345-753936E711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58DEB9-A21D-4970-8B2B-FBA6E96F48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141032-5DBF-43C6-8B59-1E1FBB0694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65D10E-4EA4-4203-BD23-3C58381678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A64996-C49F-4B2A-B593-6FA05535C5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4D6B0A-98DF-4250-BA4A-7CE9F03C28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9B62F6-B427-46A3-8AED-A4DC569459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8317E6-AC96-4D29-BBB2-354CA5FE3D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9C7529-6DE7-4E7A-A59E-35B4938B67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450B4E-2F35-4F08-93F5-CF3CF2078D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3E286B-59A5-48E7-A56B-C5420118D3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48FF90-16A1-49CA-B74D-DE880E097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60084D-5FC0-4FDB-84F4-94315BFE47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0A0B2A-F143-4683-8AA6-F7A45F413B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9AC237-0401-4146-8372-4952DF0F41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022021-9EE5-46D5-BDE6-9795CDD544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2B551B-01E5-4BFD-AEFC-7F49CA70D8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B7505F-E141-4AFE-9746-BADDB56A29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6F5420-C2FA-450D-82DB-A5C553F03E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1722EF-149B-413B-83F6-EA4CB52763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A5A101-2A47-4434-B1CA-268567F0AB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E914F5-4574-456F-B0DD-2FDE5FD375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855116-4C60-491D-88B1-E98B0494B3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FD23D8-2414-4A74-A01B-6FD2C5F345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1AC33C-128C-4523-91C2-EEABAA4DEC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EDD1DC-DCB8-489F-99D8-359EDAD196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320F6F-7584-4A9B-8373-14F1D8247D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B497AC-0E48-476F-891D-D3BBC9CBEE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6645C1-09E1-4E62-806C-38736B45B4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4BBB2A-0663-4444-8207-AE25CDDBC4C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6DF050-9D23-430C-8ABB-41E9517775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283821-B79D-4498-AE5C-A6194C38F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1E1788-3EF9-423E-A1C7-F2857896D40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3F4225-B5F8-485A-AE18-DEBA49127F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C3C20D-DCF8-4467-AA1B-38168D86F03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A3CDA3-B374-4B88-9700-F9CE4CA824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C71988-313A-4979-A02D-05C9C41602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AE7851-30E0-44B1-BA75-5202EB4A9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970B22-606C-4E44-8AEB-FB4F833C3A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FE471B-28BF-4AAA-B4E0-557EF52C83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F45578-1F92-4602-8FBB-F9CD9F343F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96D185-33DA-4823-975E-F95DEC3499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4DC851-9699-45C6-B8A8-96E90B83D8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3D72DF-F26F-45E2-9DD7-3C8D3C07EE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6D9E02-7C52-483C-8A51-88E8A7FD8D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F95722-A152-4A7E-B831-8AB824DC8D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1750BE-ECAD-45B2-8FA0-D89EFC4173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179145-C247-4955-8390-082A222038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E5E963-F5E6-485B-9E9E-474C2F26C9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FE596B-265B-4E9E-948E-FA2E0ECAF5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97A14D-513F-4BA9-A6BA-079AF69532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C9CF65-4680-4D70-8CAD-C6C9DAF49B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8E16D2-C09A-47D4-8AB2-57E11F09D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FE8A52-2C35-428E-A5ED-0C0ABC22C3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CDCA2A-6974-40A7-87E3-79E0C28CDE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AA09E4-46E1-4E73-946F-7AE90228F3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DA1BAC-D3D6-4F68-8057-FF73ECC18B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935801-EE3B-4F29-AF0D-296FB593CB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76A1C8-99D9-4681-AD47-A76C417EF9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678969-081A-45C0-8B5A-213B5BF4A8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C1EACC-CC31-4970-A460-16AFCBE243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3ED15A-85AB-4C1E-93FF-CC0E9EEB61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5FE8E4-3405-41FA-88AC-AE5D6BD933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7F1BE9-4E0F-4920-ABE9-ABC23507DB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A9BBD7-AF73-4449-8F13-24CB98A0F4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F016CC-06B8-4B64-B9B4-A88DDD0C33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CB7F89-0F78-490A-BB5B-058DF45AF8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351062-2F82-42F0-B094-C34D2009F5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65D4FF-76B7-468B-B693-A5C299BD3A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B8E67C-CBE2-4FA8-B4EE-45D8631489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4AC916B-A347-47E2-9665-A8C1EE50EE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9D991-164C-40D2-A058-396BDF1B60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EB7E22-4889-493D-BB5B-5986B1AF68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9CC0E8-0943-4C1C-A347-A0C296EA8C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C0B725-00DD-464C-AEE6-E0B79C97E6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6FC766-C38B-4251-8798-97F8C529FC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189CD5-4C6A-4C3D-A36B-394929946B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539FF8-F137-44CD-A009-80B08FE70F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17A30B-5708-4777-964E-0933199742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AE6451-E05A-4486-B259-438371C422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3FAF79-3009-45F8-AF43-75CD62A3B1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228CE4-B727-4DA9-9F87-99FB376E0C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133F20-A554-46B0-A209-0F172B9992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59EEC9-5785-4EE2-A522-FF2AFD6AC3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B9CC16-0818-41E6-8C35-DCE63641A4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43B8EA-6067-4759-B0B6-BBE1A1DF59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8862A6-3E2C-4F05-B822-A2095648D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5375FA1-E3B7-4C80-9735-2A4B997355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E72B1D0-0B6E-447A-8C15-CB4D83B81D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5E4D4F0-52C3-4E0C-8B2C-12549D7684E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C17C605-1DA9-4A79-BBF9-8AE30BF2AA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9E8B7F0-6BAE-45FD-A71E-2FF8711A6B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0A83AE1-3B5B-4B1F-8BB9-3189CFEF6A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19E148E-B256-415B-B824-360D910176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C9B94F4-B109-4179-A4FC-E2DB6B6F31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9DEFD9-6149-441E-86D7-6DE6F5B17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48A07D-58E9-4CD8-9058-9C982BE05E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EA9EA4-4940-4F30-83A8-F3365A88CA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6A05F3-E1BD-406D-BC00-1F4A035814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EA57FA-C349-4CA4-8CF6-4E16F487A5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4113D8-8C8C-4A3D-920C-EB13D43872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456C32-BFB6-47B5-87F5-59C8E3DD6B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F02407-9681-4C14-9A2A-A6B794C9F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1D3EC6-A6A9-4EB1-9AE4-CE4DAE9488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5F6AA3-B655-4B72-A302-121637DBBC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4C5701-2628-4BC5-9AD2-680A09C1FB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D00D33-56EF-4145-AA61-16ACF59D8E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0CF30F-1E24-4278-8292-5F2936B660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102383-6E2D-4B1A-AF71-2BD948D615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9B8592-E86D-46F6-916E-255F8B8CDD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9799D9-35DC-4FF9-A2BA-071B13D412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FB3220-4FE6-4886-8F2A-4479B8D190A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398037-C425-45DD-B5C6-0CB8DFB7DB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BC8843-0418-4C63-9814-0F387F105E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DEA791-E59F-452A-B739-2BED1EC621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6F6544-A1AA-4BE9-AD4A-423F4C9C3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7F5213-9B6F-4BC1-8046-E2D14DC5F04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0986C4-83D4-494F-A7DC-902A7F153B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C4E8EA-1143-4D5B-8B52-1817137FC7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FB14E5-7595-4684-BC3F-16A3C29E00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2DDFC1-0224-41FB-A786-31B02D64AE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AAE243-F8EB-4205-B0ED-E67B0EDF9E8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6FD83F-70ED-4CDE-854B-A7131D3BFB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0E932D-110C-4FF1-A0BC-9AC7E78371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9805AE-21A9-43DC-9EA6-996678DEF8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9C910E-B288-4E3B-9CFE-C722A75E53F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F5B25D-A034-45A8-968B-793D3E22E7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579283-010C-49E5-A6A6-7358AD25B3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3E6C3D-BA5F-465A-84B4-F499421E51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9218CC-C805-4004-8B0C-C4736915FF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1418C5-8DD3-4AF3-B41F-2A63A0D045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9AE92E-578D-4033-B3AB-A3432705E3D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B01D2B-8798-497E-8AB4-40FA1E5702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AD4394-FAAC-431D-A8C5-A39042C74C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EB8011-28AB-4085-9F5C-FABF39FE2C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F040D1-8425-4948-B7F2-460D70F7E1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E1D2A3-9373-4CE4-87F7-BFD1EE06B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AFC573-DBC7-46DB-B89F-88E677C884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F48FE0-8392-4AC3-8007-84B51920B1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4EE5FC-67F9-4C6B-A393-4DED301069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3FB25C-DB26-4321-B8D0-136D126F4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ACCE45-E7A7-46EE-BB22-4B1A151E84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4FEC18-004E-4F6A-9654-F919A30C22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A1C360-29BC-4306-9840-81A95196F7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6ECFA7-191C-4640-B982-E25A7187F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2B408F-8B66-4757-BFB6-678D3CEA715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AD7F5C-D3C9-4984-BCE2-374C0A875B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EB355B-398E-45F6-815E-AE42122127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CBEEAF-6C0B-4422-8137-4EB522ECBB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9F7EF3-8D98-4937-8462-EAC18CBD31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B910DC-2884-4498-9ED6-DB86A5CAD9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CA18C8-88D7-4E63-ABA7-4C7D586E2A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167CE4-578E-49CF-BA11-3AACF82C1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CA2DF6-457B-4EC3-BC89-6D720EA29A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3CB3A5-CEE0-4A80-B9FF-1E42AA99EF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4AD74B-BD1F-43A6-A889-60AD60DEB1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8F3F86-3C3E-4DF3-BAB1-336E745265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1EF1A8-68DD-4B10-BA47-196AC95B4AE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17DB5A-FC04-44C7-BFA7-09384CF644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7DD44B-5239-4BAE-B67B-8E090BFAFB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367AF6-7741-4D54-8343-B5186B0845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5D5993-BE77-42B0-B9DA-3369BBAFDA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51DD50-4D43-4283-AEC6-44D55A857E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42CFE8-6939-4DCC-A7E6-AC72C7745E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1F10BA-B89C-40AC-8594-EE8AEC5542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BCE6C1-28F9-4CC5-8196-BA12F70E23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CC33E9-86F5-4647-802A-EA13B6512D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F5F57B-5935-4BBB-A17D-28BB8354AC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5ED553-1250-4B5E-AC18-9CC59DA619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A4C302-9AB4-4044-9A4F-BE7A97CB66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A4333D-AE10-4F68-8842-3F1BE1DB1E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42A518-42AC-4417-B62C-8FB542F7FD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B4FCC6-DB1A-412D-AA19-46EDE627CB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3C1BB0-D8DE-4CC0-A3CB-F64BD7527C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108C21-BFC7-4849-8C13-8ADD900055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304F231-9902-4866-AF49-07BB30C8E1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A1A024C-7A05-45F6-A492-96DD25C25E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F187474-5388-42FE-B393-10F4C8EFDE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9F3A07E-64A4-4E21-86FF-A0454AF2CF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CBEA49B-8FBA-42AD-B2C0-2C040813CB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10D3B78-086E-4F97-A1E3-96EF640EE8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5CB5762-5677-4F0C-BD2D-B24D44EF67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21C4897-A8F7-46FD-997D-5B662BAFBF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C32E35-37CF-4BD7-94E9-1E33F231BF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798076-345B-4D3B-A98D-3A8EB3E8D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C03111-6C5E-4C45-8465-71D8218465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9AD824-2128-40FD-9119-5A26151528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53491A-212D-4F70-B167-62DF6F1427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BE0BE8-AE9D-405B-A673-C8144614A2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C6BEA9-2EA7-4D14-998E-4DA3EAA8DF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AE37EE-8CED-42DC-BF1B-FB3616317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2D5EED-4422-427C-BFE5-D3C6A69DF3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3256A4-285F-43FC-BF86-701C8EB0A4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83D973-8EB9-4C05-BA00-E462B5250C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58303F-865A-4025-903C-9419212CE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2B248F-330A-4159-B6BF-FB74013223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B1D2DF-F9A6-4D17-811C-FE15F6448A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51ACAE-D1EC-4252-BED4-0AAB19FFA4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9A8F98-27BA-4316-B67F-E3A79D00EC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F13C1E-CEB0-4380-B340-BFAD0DCECC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B7DD0E-E89E-4CE6-AE37-238B6149D0D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220A59-626C-4295-9FCF-7C66A7B99C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0268ED-5FC0-4F5F-9454-09A633EC36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124D8E-4D70-4CFF-AA34-177D8FF260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8381FB-212D-450E-84CC-BC94A1E556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52157A-64F1-4AC5-8BB2-F1D89D5431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2CCC19-2704-4F2A-A804-8F999B2E35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94760E-D457-4D83-862A-8CC4244AFF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E1CCA1-1085-4B7B-8EDB-C528BA4115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99E2FE-BA3A-43AF-B627-ED909864B4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2FB186-5DCC-4ECC-AAD4-406BCCE4C7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E98DAA-A92A-482B-A903-BC557D78C5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5C02E9-76AF-4249-ADE2-BC9E74305E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A1782F-C2AA-4ED4-AD1A-B85B5BCEC6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24914C-9124-4F65-95F9-4B32CD748AD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7B0697-AA9C-4888-80B3-451DC70643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7E8F2E-2AB3-42A4-9D97-F282828F06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91889C-C709-4637-A806-9A0DBF1F7E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651D84-823D-4D35-BA57-7EA0C3B23E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F94167-E4A5-432C-B0F7-56DB6CD61E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0A1B5A-2F9E-41DB-81E6-BA6D23C3BC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C771A2-DF4D-4879-B992-F23A888E89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F88441-A5D9-46A6-A780-E9B7F8991C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BD6F41-E190-440E-8DD2-8536453CB0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C94A01-7189-4B8A-A8A6-7932C092A6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04F1EE-B10D-422E-98F3-098CDED1FC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9523AE-2EFF-4D26-8A91-9B4FBA45CA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77CFB6-0A42-4D76-AFF6-8B635B7AB7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9412F3-E64B-4032-ABD9-985397341C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B466FD-670F-4D41-A559-C080B4CE7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24AF9A-CA7D-4B9A-96EF-DE690E8F1C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A2F073-1921-4898-B17C-DF8309A1E4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707401-39C3-416B-ABC2-3ADBB73373E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2A2F4C-1A2C-481B-ADF9-DABC35F26B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D79204-6CBA-4980-81F2-C0F51AB7AB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5E2EE1-E701-46CD-B9D2-2A4D7316DA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C94CB9-2777-4D08-B028-2DBE9AA1D4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BD5272-1C8D-49D8-B7FB-E66C553B9D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015F59-0002-4F2D-A084-F911CA0934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8721A6-0BC5-4997-9379-B1767150D6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0A8BE1-3C72-48D4-A541-EAE74AE7C0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CD22FD-2E4C-4EDC-A830-B6D0CF572A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AC3B03-BE40-4A5F-B200-353A8B3FFF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4B737C-6D15-4293-A70B-0640F19A43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5439D3-80C0-4724-BB93-CE229504B3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23E5EA-579E-4997-B570-BA4761F5FE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A67FFD-9719-4891-A9E2-3984B1848C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2FE90F-8288-48DC-8594-894EFF47EE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3BFE89-4C1F-4B5D-8A5B-295B39BE67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3F6BCD-E67C-4E08-904F-602D2926CA4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993508-2C88-4D95-94F9-2298A702FF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4B130A-D601-4F9D-BA84-1AA2AA5863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DC8ED8-B3DE-47F0-A1DA-A7EC3C9B9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3DD076-489D-4ADB-9175-B59A4A16B5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73B4DA-EA04-43EF-A5E5-1C6998A3BF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78747C-6065-4F4A-A552-1A677DD5EB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C36552-37C2-453C-B86E-41DBA220B8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C2CE9B-8ED4-417A-85CE-055C84EE63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FCFD28-E60E-43F4-AC55-E862CD7415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9B9EB9-BBC4-4A5A-9C77-B3A42B9E9CE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3E084B-127C-43C7-85B6-803B93EEE27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E65347-05B9-4872-BFDD-97758B2BE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8C185C-66A1-4F77-9EFF-B4D6089DCE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91CE99-EA02-41DC-99D6-E87570E05D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EA2CB3-E4E8-4F0F-9F1E-492B6A6D2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A59C54-371A-434B-BD49-6CE4047739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33E331-4732-4C62-8F24-31617FF965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485464-4F08-4C3F-B70D-3680C39778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F37F5E-07C5-4A42-88ED-64F056CA2A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A98851-991D-4F18-B69C-0A6505C020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7966E2-2AEA-44C2-9909-0E50AECD38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367DF391-07CB-452D-962A-EA177FF3DC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6852B370-B4C5-497E-BAA1-B7C0129D07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1197200-15EB-42D7-9C26-DB20007539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6C88209E-381D-43F4-83B8-90DEBDC9D3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B52E3AD1-9645-4499-9755-D1F5A815F2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0E94DF6D-9B7A-4385-8271-2F87DE5931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9C6A92E4-F8B8-4B48-9915-DE764CF846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F5FDF237-149E-44BE-A7DC-B7C9D45D42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F1533E-295C-496B-8B72-3577C1D36C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171B8B-65EF-48DD-B7EC-95A5A71D6C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0A2E27-DFC2-4B10-B5FA-D1DDF11FF8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012396-0687-484A-A9B4-03A619606B1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EC37B3-16FE-431F-A61F-BDBC7896F7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2910A6-06E6-4C2C-91C4-57A9BFDA93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E1E890-EBEF-4C13-917F-D287419621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7AC998-6E99-4CE8-919F-11D6B06F0B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5F92CE-A065-4A8F-B521-AA23B54493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EBC6AA-ACA7-4A92-BD7F-AE66D0D5F4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A4C05D-EF37-4F1B-8844-4805E12033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A2C512-5334-43F3-82A5-8BF7C3258E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9D26B5-0DDA-49BA-83E6-DE71D5EF55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32B102-706E-404E-8722-B87D5536B6F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6B1CAA-C39A-48C6-8C49-9B0C4546AB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9685D5-57DC-42B3-BB46-E923911DAC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5167CF-0875-4222-ADEA-44E27D7DC3F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9D5FD7-E16E-4B63-9171-08C40F401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F096D8-8C52-4712-BBEC-D1328A0997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5692E9-3B05-4EE7-8489-910587A50B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AE9D38-9918-4C49-961D-C0D9FA97F5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CB75A3-CBDF-4126-A10D-FD1418DED8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EBA8D1-B9B2-4C8A-88F4-41A22FAC4D7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D17491-F9F8-4C65-AB95-75AA45C9FEF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941D6A-FD9A-4B29-8AAD-B4432D0DEB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6F60C7-BABB-4B1D-B57E-DB3B8D0CE9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9F1CC3-4700-48DF-A52A-6775B106ED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FE202F-BF36-4BAA-BD06-0C82E5684C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708A52-3599-493D-B009-C83B1E60E0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65C3D6-BF58-49FE-A6D5-ADF8C63A66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7AFF14-E3AE-43EF-B416-1910A94F8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7DAC9B-2A81-4170-B67D-87C35FC0380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588216-C775-4246-9BE6-0E4B75B647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F89D83-B122-449B-9188-30D07304D0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E9FC12-0C3F-432B-94A2-30A0FC0DA02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6E1E4A-EF71-478A-9B26-2BD20986AF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C9FEE2-0539-478A-B2F3-51B423461B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DE636D-AC01-422D-A7AF-0C5935085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300D55-417D-4235-83C0-6E2266A8F2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321379-CEA3-47CB-9B2B-267EC5991A5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C3A67B-9552-428B-B59B-A7A06DFB3D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373648-C091-4DB5-B68F-BC44F76ADD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70F599-62BF-4517-BD88-A623610418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3A5971-C211-4243-BCBD-01764EA33D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989EF0-BB22-4893-B90D-2D29473AE6C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CFD32E-A6A5-4E9E-97CA-137998DBDC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7FC907-C5E3-495D-B0E4-6C1453740F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1B1F3F-1DEA-47E4-8B73-A9E0276186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71C03E-F2C9-4556-B979-42F0926965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D9E297-E7A8-4800-A478-9B377715C05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55A153-BD1A-426B-9F1D-8D4DF54936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1CA463-FB5B-430C-9C70-D5BBE190F2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D1196A-0DAF-4ACA-8846-EDFEFC8883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04E4ED-2C61-4FEB-BCF7-2808F5148A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B46128-2E94-4E5A-B5BF-50D1A9BAD7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F0E74C-E8FA-4954-951C-FEF0E2761A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57F036-36C2-473E-9DF0-C12A529CB1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EB8CAD-CDDA-4C2D-9BF0-C65AB54E4B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0728DF-047D-4735-9478-C2AB8256A6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A3514E-EFDF-45B5-B001-5104EA0FFB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84A1CD-4670-4568-BD51-E65575002C4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55F3B0-888C-46CB-8A6B-03EF080781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C3EFC66-9E8A-4A23-A7D5-EBA673B2C9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7A904C-569A-4754-9255-CC08B0C3B4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0BB22B-EB6E-46D7-BE6D-290CBEE6B3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387800-95D0-4679-82E8-A24FCD02591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47337D-42B6-4953-B3F9-C829DEF42B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491E0E-9BD6-491B-AF57-7D880E894F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894CFC-A983-4110-83D3-0E0DE210145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A9D0E5-B25F-4A06-BAD2-8C24FB5A4D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F01C87-554C-447B-AB13-404489AC2C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AAE0B1-5040-4B5E-893B-509C767BACC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03DAF6D-3B9F-4CD2-AB25-E5C446882C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61C4489-441D-43D1-81BB-97EFE5129B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624143A-47F2-434A-95BD-D37FEF2E60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7258490-EEC0-4602-9E8C-4B7F217831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E57E442-FCDB-46CF-8601-C39099506C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9AF3273-5405-49FD-ABCA-0D1A71B6FE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189FCD1-4715-485C-821A-4B89736482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27B9653-D1B0-4258-9E5B-C8C6900344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D1680E1-1A71-437C-AD96-1739A93C9C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D194D04-15AD-4139-AF98-986DEB23B2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96445CF-ABF5-4AC8-B751-3CFFA78E8C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7D20FBD-07B1-4260-81BC-E1D490DB5DC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A2E74DB-BEE2-4CEA-8894-89F410D618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D116D16-AD3F-4A5C-B7A0-7C7133C6C66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DB422B81-C3D4-4FC5-90EC-D412D46993C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5AC439E-1E62-4C4D-9983-2DFD184E15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D8A3E8-48C7-45EF-BBFC-C0941640931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DACB56-2C6E-4084-93B1-DC3BAFB8B4B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A7CB1F-EFF3-417C-9170-223EC7563B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A9175A-048E-40A5-A4DA-7B4EEBDD87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A4B1B7-09F2-4A6D-BC9B-B5B677FFDD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413CC1-C9EE-4A1E-85C1-2FCE06B6EA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77C3BA-FD9B-47D2-92B4-D7A73613CB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4BC604-DD1A-46F6-B402-20FF5BC8AD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3A26C09-6C66-48D4-97C2-16549A6858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79C1625-65EE-470C-B1A8-8620F710BD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F8FCE95-67E7-40A0-9517-71F9C5714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78150A8-7DAD-4F21-A732-DFDAC071C4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C213B3B-1577-42D3-8076-4F8E0DC54F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0B5F52A-D1E8-45B6-8ED3-29F18D1442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687A1D8-68D9-49C0-8B74-B88C275D11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809925F-556B-450C-BB77-BC41FBF04B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C6CFCAC-0214-4A1A-9FAE-284076F6D9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AD97C7F-D427-4A0E-87A3-FFEEEBCBE0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CFF5E29-4C0F-4D38-A667-B23C3E1CD6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897F291-67D2-4F59-A02A-B8CE4994D7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A2A922A-27D1-4156-A534-BF462A8A23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655DD47-5269-4C55-A497-2D291574AA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55CCF9FD-510C-4353-80DB-6FBBCFF2B2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8E8749E-9A2A-4540-8923-3FAEC11D1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17BEE2E-DEF9-49DC-B41A-5867BC5785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9BE2C36-3842-4B9B-8B70-65778225D0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544BA09-05A2-4D1F-83A5-16CC29C1451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9ADBB94A-3646-4ADF-BAD4-5E9D77F3D1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6076E117-8E68-4B58-974E-FAA3D8B3D3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480CF159-7958-49D9-B71F-BB1CD7EF22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533C8B81-0085-47FE-B047-F1EBDEDADE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8BFD3344-41F4-403C-B5CF-F02709E767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3029B2-B2B0-4100-81A7-5D958A5581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443BE0-344C-478B-A957-7136C19A8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F1966A-A4DC-4064-9FFB-9DB6CB528E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A5F35F-9B4C-472A-9A76-E42A9B29E0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6F44BE-F517-4643-A3BE-BB1628C766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FE0C52-9F39-450E-A26C-77EE917DA1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861D5C-140E-4E29-9ED1-3FFE3627C0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9FA25A-0FE4-4C19-A76A-C1F7DE671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EEEBFDF-4846-447B-9876-B789309868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8162D73-800B-452A-8C05-BB9D4D96510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D13125E-38A0-418B-90B5-45A3E67E76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07760C7-9B70-44FF-BAA4-46E7F6F11A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3630F1A-76F7-4345-B02D-45986B1E6D2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210F6DF-7DC6-482F-80FD-3A41EB8FED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3AC411B-8BAF-45C1-9C68-33D198D456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B75F72A-54DD-4C74-96C9-009D687922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8B7610-5C15-4888-BCCD-15B8F039B8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DE76B6-5A9C-4E0C-BDBE-A6F346571A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B6FF86-836E-4990-9DC8-AA1DC38D4D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1A0500-C19C-4EC4-A699-3FABC16754A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8DEB74-74CF-4C90-9AEA-5CA5391380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03598E-E115-4119-B548-2CF89399CC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D915B2-E51E-458D-9A6A-18E14885C7E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5CADC6-3A5D-4EE5-962E-F6E9FDB0D1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F2787AA-B354-403D-BE18-06BB1F644D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A21653E-71D3-4423-89CC-1560DABB3AE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BDA8069-A149-48F1-9146-4DBEA1AFDA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E4A2385-8365-40C7-BEE6-465A9D248B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C7983549-10CD-443E-89B0-AB8673A6E56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412A8A7-B620-4CB8-91C7-B100DE35C9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33F8760-46AC-4695-9449-E046B9355C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E9EF9CF-05A3-4055-9644-53AD0BBCB8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CE8BC7F-9B9B-4D3B-97D8-B613366B25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DA4D1BA-0E12-4249-A6CF-011ED61FD9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2C74184-2CB5-482D-AEE6-A6375BDF6B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FC8E37B-9CD1-42EB-BFE8-A0B7A92F34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F97AA936-0553-4EC6-A01A-E1BBCDF1DC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6C690910-2E5D-45E6-AEE9-1B9D672E56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7306F22B-B352-48C8-816F-C03B095201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C89B344C-B3D5-4852-A156-75513DEF74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89B936-29E4-4907-B0BF-8389710FC4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3CBD1D-5A12-4F9F-86F0-C9A025A5EA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D743C9-080A-4FD0-8259-F41686EB2E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42F8C5-B93D-4F35-BD70-13B3856FAC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662546-9037-4256-92D3-BCEF32FC56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9BABD2-BFC3-4533-ACCC-82FB13E90B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DEACA6-0DEA-4A16-BF71-C530E80F9C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9B1EA0-D49D-479E-81FD-EF697D4EDCB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08F7161-129E-4DD9-85CE-CC9931DFDE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E7D3A2A-9065-411E-94E5-4D3C6F1C87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C462DA0-E520-486F-84D6-83EA4F7CAAF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79CD906-D60A-4A2F-BA66-4288B2D5BB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AB9867B-5D7B-4085-9D64-420F47740C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C87361D-BA67-4B1F-AFFE-E56498AF8C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2CF56F2-736E-484D-BED8-CD92A87DCA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BC261FF-A567-4A18-A7FC-9EFB80488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763005D-82A7-4B67-950D-ED92704639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54D7BD0-0838-472B-A4D0-B2D6B08C7F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B32ACD9-09FB-4BB3-8FE6-6D1466F5E0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6EAB407-B1B6-4890-BA64-ACC294B19B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1C2D247-D5F9-462B-A2AD-C4725C69E6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0587C2F-4383-40E6-B13A-E86D91D7B8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D469311-EB8A-44A2-9EF7-F055A4D2E1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5EC05939-2B47-40B3-8DA8-0FC6EA7004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53F281-B7F5-4EE5-90C3-2D13A038332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3BC1D3-8398-4295-8607-DC6A94D6E5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C3627E-738A-4C85-A86B-481185790D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5241C2-1029-4F30-89B2-344B46C1CD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6F0570-8A01-48CC-BB36-6E0C06F177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BE47790-6BE1-43A0-8F0F-D72E57122C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712D28-E797-4520-8C39-C9FA39A7C7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16AB9B-C7E2-4544-B7E6-BC22E36467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F2BC9F4-7C89-4D65-80E7-8D58C20DF3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A4D1609-F05E-4067-8E36-D5EE9E6C12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A515E00-34DA-455B-9D2B-72CAA33414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6B15468-D7C4-43AC-92CD-DC7C4510E1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8870B90-0303-46F0-8380-2EA8CB9905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BA80D94-2043-4744-8367-27734C2205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251EB34-EDF5-48F7-9820-7600F5F0FD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2C3AB2D-7AE4-471B-839B-DFF0CC3746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B9CBB2A-675D-4ADB-A8E1-F8F022419B1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F7F17BF-2F3D-4DA1-9476-5AC8EBF124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9FB3B09-6ECB-42F1-8094-39E2D83B8C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6D1C89B-8E76-4061-8A5A-6346F13136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01FDB38C-8B5F-467B-85D3-1AABBECC5E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000C186-D66A-4ABF-B67B-B96486168B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3F7C344-8D2B-4290-9BFD-85CF48DDC9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B0714DB-A87E-4AF1-B23D-CB15C6A790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627E244-F4DF-4131-96C2-85BB10A032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60E4A71-43B5-46A4-B2CD-84253270E01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32834D3-F128-4EEC-8CFD-6CCD7E30DF9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CC0F2527-B0BC-484C-BDC7-5E6049EA476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5836101D-0773-4B1E-B15C-B6A366DF75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755FB509-AACA-4EE9-818A-7813FC9F94A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FDCC3302-6C12-46CF-8EE2-2D1F9F5FC8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9BD7FBE7-F6BF-49D8-8DC2-9F3AA7B8EC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F2F40F-1B98-41D9-8E63-0EF4A385BC0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8C7068-BD69-41AE-8C47-13BAA79832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B8ED54-B876-40B7-8CFD-64E5C273A4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A1C13D-1AFF-4D9F-91A5-D8CC85010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481F3A-3FF8-4DCF-B4D2-981BAD4E89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9BE87E-C4AF-4C94-8D8D-AD88203B24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5EB13E-0A94-446C-B335-F3C6669BB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C8DDD5-C3D8-4DE0-95BE-37907AD161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72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7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73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73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74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74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279.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280.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281.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282.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283.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284.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285.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286.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287.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28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289.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290.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291.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292.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293.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294.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295.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296.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297.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298.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299.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300.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301.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302.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303.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304.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305.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306.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307.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308.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309.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310.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311.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312.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313.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314.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315.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316.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317.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318.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319.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320.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321.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322.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323.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324.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325.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326.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327.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328.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329.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330.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331.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332.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333.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334.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335.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336.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337.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338.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339.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340.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341.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342.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343.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344.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345.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346.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347.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34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349.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350.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351.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352.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353.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354.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355.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356.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357.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358.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359.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360.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361.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362.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363.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364.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365.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366.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367.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36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369.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370.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371.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372.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373.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374.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375.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376.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377.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37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379.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380.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381.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382.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383.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384.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385.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386.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387.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38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389.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390.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391.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392.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393.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394.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395.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396.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397.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398.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399.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400.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401.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402.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403.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404.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405.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406.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407.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408.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409.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410.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411.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412.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413.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414.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415.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416.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417.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418.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419.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420.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421.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422.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423.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424.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425.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426.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427.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42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429.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430.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431.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432.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433.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434.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435.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436.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437.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438.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439.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440.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441.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442.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443.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444.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445.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446.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447.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448.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449.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450.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451.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452.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453.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454.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455.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456.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457.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458.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459.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460.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461.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462.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463.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464.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465.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466.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467.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46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469.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470.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471.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472.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473.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474.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475.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476.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477.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47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479.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480.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481.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482.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483.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484.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485.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486.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487.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4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489.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490.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491.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492.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493.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494.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495.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496.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497.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498.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499.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500.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501.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502.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503.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504.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505.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506.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507.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508.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509.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510.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511.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512.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513.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514.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515.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516.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517.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518.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519.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520.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521.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522.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523.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524.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525.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526.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527.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5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529.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530.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531.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532.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533.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534.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535.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536.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537.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538.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539.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540.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541.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542.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543.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544.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545.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546.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547.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548.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8" Type="http://schemas.openxmlformats.org/officeDocument/2006/relationships/chart" Target="../charts/chart76.xml"/><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549.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550.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551.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552.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553.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554.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555.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556.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557.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558.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8" Type="http://schemas.openxmlformats.org/officeDocument/2006/relationships/chart" Target="../charts/chart80.xml"/><Relationship Id="rId3" Type="http://schemas.openxmlformats.org/officeDocument/2006/relationships/oleObject" Target="../embeddings/oleObject27.bin"/><Relationship Id="rId7" Type="http://schemas.openxmlformats.org/officeDocument/2006/relationships/chart" Target="../charts/chart79.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78.xml"/><Relationship Id="rId5" Type="http://schemas.openxmlformats.org/officeDocument/2006/relationships/chart" Target="../charts/chart77.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559.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560.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561.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562.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563.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564.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565.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566.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567.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56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3.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82.xml"/><Relationship Id="rId5" Type="http://schemas.openxmlformats.org/officeDocument/2006/relationships/chart" Target="../charts/chart81.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569.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570.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571.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572.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573.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574.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575.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576.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577.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57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8" Type="http://schemas.openxmlformats.org/officeDocument/2006/relationships/chart" Target="../charts/chart87.xml"/><Relationship Id="rId3" Type="http://schemas.openxmlformats.org/officeDocument/2006/relationships/oleObject" Target="../embeddings/oleObject27.bin"/><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85.xml"/><Relationship Id="rId5" Type="http://schemas.openxmlformats.org/officeDocument/2006/relationships/chart" Target="../charts/chart84.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579.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580.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581.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582.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583.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584.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585.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586.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587.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58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8" Type="http://schemas.openxmlformats.org/officeDocument/2006/relationships/chart" Target="../charts/chart91.xml"/><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589.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590.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591.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592.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593.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594.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595.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596.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597.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598.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93.xml"/><Relationship Id="rId5" Type="http://schemas.openxmlformats.org/officeDocument/2006/relationships/chart" Target="../charts/chart9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599.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600.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601.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602.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603.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604.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605.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606.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607.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608.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8" Type="http://schemas.openxmlformats.org/officeDocument/2006/relationships/chart" Target="../charts/chart98.xml"/><Relationship Id="rId3" Type="http://schemas.openxmlformats.org/officeDocument/2006/relationships/oleObject" Target="../embeddings/oleObject27.bin"/><Relationship Id="rId7" Type="http://schemas.openxmlformats.org/officeDocument/2006/relationships/chart" Target="../charts/chart97.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96.xml"/><Relationship Id="rId5" Type="http://schemas.openxmlformats.org/officeDocument/2006/relationships/chart" Target="../charts/chart95.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609.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610.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611.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612.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613.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614.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615.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616.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617.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618.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8" Type="http://schemas.openxmlformats.org/officeDocument/2006/relationships/chart" Target="../charts/chart102.xml"/><Relationship Id="rId3" Type="http://schemas.openxmlformats.org/officeDocument/2006/relationships/oleObject" Target="../embeddings/oleObject27.bin"/><Relationship Id="rId7" Type="http://schemas.openxmlformats.org/officeDocument/2006/relationships/chart" Target="../charts/chart101.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00.xml"/><Relationship Id="rId5" Type="http://schemas.openxmlformats.org/officeDocument/2006/relationships/chart" Target="../charts/chart99.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619.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620.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621.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622.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623.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624.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625.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626.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627.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628.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629.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630.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631.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632.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633.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634.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635.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636.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637.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638.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8" Type="http://schemas.openxmlformats.org/officeDocument/2006/relationships/chart" Target="../charts/chart108.xml"/><Relationship Id="rId3" Type="http://schemas.openxmlformats.org/officeDocument/2006/relationships/oleObject" Target="../embeddings/oleObject27.bin"/><Relationship Id="rId7" Type="http://schemas.openxmlformats.org/officeDocument/2006/relationships/chart" Target="../charts/chart107.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06.xml"/><Relationship Id="rId5" Type="http://schemas.openxmlformats.org/officeDocument/2006/relationships/chart" Target="../charts/chart105.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639.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640.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641.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642.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643.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644.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645.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646.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647.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648.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8" Type="http://schemas.openxmlformats.org/officeDocument/2006/relationships/chart" Target="../charts/chart112.xml"/><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649.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650.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651.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652.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653.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654.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655.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656.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657.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658.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5.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14.xml"/><Relationship Id="rId5" Type="http://schemas.openxmlformats.org/officeDocument/2006/relationships/chart" Target="../charts/chart113.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659.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660.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661.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662.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663.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664.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665.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666.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667.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66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oleObject" Target="../embeddings/oleObject27.bin"/><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17.xml"/><Relationship Id="rId5" Type="http://schemas.openxmlformats.org/officeDocument/2006/relationships/chart" Target="../charts/chart116.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669.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670.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671.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672.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673.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674.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675.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676.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677.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678.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8" Type="http://schemas.openxmlformats.org/officeDocument/2006/relationships/chart" Target="../charts/chart123.xml"/><Relationship Id="rId3" Type="http://schemas.openxmlformats.org/officeDocument/2006/relationships/oleObject" Target="../embeddings/oleObject27.bin"/><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21.xml"/><Relationship Id="rId5" Type="http://schemas.openxmlformats.org/officeDocument/2006/relationships/chart" Target="../charts/chart12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679.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680.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681.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682.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683.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684.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685.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686.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687.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68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689.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690.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691.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692.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693.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694.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695.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696.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697.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69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8" Type="http://schemas.openxmlformats.org/officeDocument/2006/relationships/chart" Target="../charts/chart130.xml"/><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699.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700.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701.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702.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703.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704.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705.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706.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707.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708.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8" Type="http://schemas.openxmlformats.org/officeDocument/2006/relationships/chart" Target="../charts/chart134.xml"/><Relationship Id="rId3" Type="http://schemas.openxmlformats.org/officeDocument/2006/relationships/oleObject" Target="../embeddings/oleObject27.bin"/><Relationship Id="rId7" Type="http://schemas.openxmlformats.org/officeDocument/2006/relationships/chart" Target="../charts/chart13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32.xml"/><Relationship Id="rId5" Type="http://schemas.openxmlformats.org/officeDocument/2006/relationships/chart" Target="../charts/chart131.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709.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710.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711.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712.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713.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714.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715.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716.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717.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718.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7.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36.xml"/><Relationship Id="rId5" Type="http://schemas.openxmlformats.org/officeDocument/2006/relationships/chart" Target="../charts/chart135.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719.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720.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721.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722.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723.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724.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725.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726.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727.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728.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8" Type="http://schemas.openxmlformats.org/officeDocument/2006/relationships/chart" Target="../charts/chart141.xml"/><Relationship Id="rId3" Type="http://schemas.openxmlformats.org/officeDocument/2006/relationships/oleObject" Target="../embeddings/oleObject27.bin"/><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39.xml"/><Relationship Id="rId5" Type="http://schemas.openxmlformats.org/officeDocument/2006/relationships/chart" Target="../charts/chart138.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729.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730.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731.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732.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733.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734.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735.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736.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737.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738.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8" Type="http://schemas.openxmlformats.org/officeDocument/2006/relationships/chart" Target="../charts/chart145.xml"/><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739.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740.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741.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742.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743.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744.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745.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746.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747.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748.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47.xml"/><Relationship Id="rId5" Type="http://schemas.openxmlformats.org/officeDocument/2006/relationships/chart" Target="../charts/chart146.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749.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750.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751.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752.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753.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754.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755.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756.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757.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758.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8" Type="http://schemas.openxmlformats.org/officeDocument/2006/relationships/chart" Target="../charts/chart152.xml"/><Relationship Id="rId3" Type="http://schemas.openxmlformats.org/officeDocument/2006/relationships/oleObject" Target="../embeddings/oleObject27.bin"/><Relationship Id="rId7"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50.xml"/><Relationship Id="rId5" Type="http://schemas.openxmlformats.org/officeDocument/2006/relationships/chart" Target="../charts/chart149.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759.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760.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761.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762.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763.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764.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765.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766.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767.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76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8" Type="http://schemas.openxmlformats.org/officeDocument/2006/relationships/chart" Target="../charts/chart156.xml"/><Relationship Id="rId3" Type="http://schemas.openxmlformats.org/officeDocument/2006/relationships/oleObject" Target="../embeddings/oleObject27.bin"/><Relationship Id="rId7" Type="http://schemas.openxmlformats.org/officeDocument/2006/relationships/chart" Target="../charts/chart155.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769.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770.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771.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772.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773.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774.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775.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776.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777.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778.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779.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780.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781.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782.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783.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784.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785.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786.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787.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78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8" Type="http://schemas.openxmlformats.org/officeDocument/2006/relationships/chart" Target="../charts/chart163.xml"/><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789.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790.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791.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792.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793.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794.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795.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796.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797.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79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oleObject" Target="../embeddings/oleObject27.bin"/><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65.xml"/><Relationship Id="rId5" Type="http://schemas.openxmlformats.org/officeDocument/2006/relationships/chart" Target="../charts/chart164.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799.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800.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801.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802.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803.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804.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805.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806.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807.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xml.rels><?xml version="1.0" encoding="UTF-8" standalone="yes"?>
<Relationships xmlns="http://schemas.openxmlformats.org/package/2006/relationships"><Relationship Id="rId8" Type="http://schemas.openxmlformats.org/officeDocument/2006/relationships/chart" Target="../charts/chart174.xml"/><Relationship Id="rId3" Type="http://schemas.openxmlformats.org/officeDocument/2006/relationships/oleObject" Target="../embeddings/oleObject27.bin"/><Relationship Id="rId7" Type="http://schemas.openxmlformats.org/officeDocument/2006/relationships/chart" Target="../charts/chart17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72.xml"/><Relationship Id="rId5" Type="http://schemas.openxmlformats.org/officeDocument/2006/relationships/chart" Target="../charts/chart171.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xml.rels><?xml version="1.0" encoding="UTF-8" standalone="yes"?>
<Relationships xmlns="http://schemas.openxmlformats.org/package/2006/relationships"><Relationship Id="rId8" Type="http://schemas.openxmlformats.org/officeDocument/2006/relationships/chart" Target="../charts/chart178.xml"/><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1.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80.xml"/><Relationship Id="rId5" Type="http://schemas.openxmlformats.org/officeDocument/2006/relationships/chart" Target="../charts/chart179.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oleObject" Target="../embeddings/oleObject27.bin"/><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1.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3.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4.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5.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6.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7.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8.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xml.rels><?xml version="1.0" encoding="UTF-8" standalone="yes"?>
<Relationships xmlns="http://schemas.openxmlformats.org/package/2006/relationships"><Relationship Id="rId8" Type="http://schemas.openxmlformats.org/officeDocument/2006/relationships/chart" Target="../charts/chart189.xml"/><Relationship Id="rId3" Type="http://schemas.openxmlformats.org/officeDocument/2006/relationships/oleObject" Target="../embeddings/oleObject27.bin"/><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187.xml"/><Relationship Id="rId5" Type="http://schemas.openxmlformats.org/officeDocument/2006/relationships/chart" Target="../charts/chart186.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1.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2.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3.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722.xml"/><Relationship Id="rId6" Type="http://schemas.openxmlformats.org/officeDocument/2006/relationships/chart" Target="../charts/chart80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723.xml"/><Relationship Id="rId6" Type="http://schemas.openxmlformats.org/officeDocument/2006/relationships/chart" Target="../charts/chart80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724.xml"/><Relationship Id="rId6" Type="http://schemas.openxmlformats.org/officeDocument/2006/relationships/chart" Target="../charts/chart81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725.xml"/><Relationship Id="rId6" Type="http://schemas.openxmlformats.org/officeDocument/2006/relationships/chart" Target="../charts/chart81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726.xml"/><Relationship Id="rId6" Type="http://schemas.openxmlformats.org/officeDocument/2006/relationships/chart" Target="../charts/chart81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8" Type="http://schemas.openxmlformats.org/officeDocument/2006/relationships/chart" Target="../charts/chart196.xml"/><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727.xml"/><Relationship Id="rId6" Type="http://schemas.openxmlformats.org/officeDocument/2006/relationships/chart" Target="../charts/chart81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1.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728.xml"/><Relationship Id="rId6" Type="http://schemas.openxmlformats.org/officeDocument/2006/relationships/chart" Target="../charts/chart81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2.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729.xml"/><Relationship Id="rId6" Type="http://schemas.openxmlformats.org/officeDocument/2006/relationships/chart" Target="../charts/chart81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3.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730.xml"/><Relationship Id="rId6" Type="http://schemas.openxmlformats.org/officeDocument/2006/relationships/chart" Target="../charts/chart81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4.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731.xml"/><Relationship Id="rId6" Type="http://schemas.openxmlformats.org/officeDocument/2006/relationships/chart" Target="../charts/chart81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5.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732.xml"/><Relationship Id="rId6" Type="http://schemas.openxmlformats.org/officeDocument/2006/relationships/chart" Target="../charts/chart81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6.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733.xml"/><Relationship Id="rId6" Type="http://schemas.openxmlformats.org/officeDocument/2006/relationships/chart" Target="../charts/chart81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7.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734.xml"/><Relationship Id="rId6" Type="http://schemas.openxmlformats.org/officeDocument/2006/relationships/chart" Target="../charts/chart82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8.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735.xml"/><Relationship Id="rId6" Type="http://schemas.openxmlformats.org/officeDocument/2006/relationships/chart" Target="../charts/chart82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09.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736.xml"/><Relationship Id="rId6" Type="http://schemas.openxmlformats.org/officeDocument/2006/relationships/chart" Target="../charts/chart82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8" Type="http://schemas.openxmlformats.org/officeDocument/2006/relationships/chart" Target="../charts/chart200.xml"/><Relationship Id="rId3" Type="http://schemas.openxmlformats.org/officeDocument/2006/relationships/oleObject" Target="../embeddings/oleObject27.bin"/><Relationship Id="rId7"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198.xml"/><Relationship Id="rId5" Type="http://schemas.openxmlformats.org/officeDocument/2006/relationships/chart" Target="../charts/chart197.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737.xml"/><Relationship Id="rId6" Type="http://schemas.openxmlformats.org/officeDocument/2006/relationships/chart" Target="../charts/chart82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1.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738.xml"/><Relationship Id="rId6" Type="http://schemas.openxmlformats.org/officeDocument/2006/relationships/chart" Target="../charts/chart82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2.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739.xml"/><Relationship Id="rId6" Type="http://schemas.openxmlformats.org/officeDocument/2006/relationships/chart" Target="../charts/chart82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3.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740.xml"/><Relationship Id="rId6" Type="http://schemas.openxmlformats.org/officeDocument/2006/relationships/chart" Target="../charts/chart82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4.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741.xml"/><Relationship Id="rId6" Type="http://schemas.openxmlformats.org/officeDocument/2006/relationships/chart" Target="../charts/chart82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5.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742.xml"/><Relationship Id="rId6" Type="http://schemas.openxmlformats.org/officeDocument/2006/relationships/chart" Target="../charts/chart82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6.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743.xml"/><Relationship Id="rId6" Type="http://schemas.openxmlformats.org/officeDocument/2006/relationships/chart" Target="../charts/chart82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7.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744.xml"/><Relationship Id="rId6" Type="http://schemas.openxmlformats.org/officeDocument/2006/relationships/chart" Target="../charts/chart83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8.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745.xml"/><Relationship Id="rId6" Type="http://schemas.openxmlformats.org/officeDocument/2006/relationships/chart" Target="../charts/chart83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9.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746.xml"/><Relationship Id="rId6" Type="http://schemas.openxmlformats.org/officeDocument/2006/relationships/chart" Target="../charts/chart83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02.xml"/><Relationship Id="rId5" Type="http://schemas.openxmlformats.org/officeDocument/2006/relationships/chart" Target="../charts/chart201.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747.xml"/><Relationship Id="rId6" Type="http://schemas.openxmlformats.org/officeDocument/2006/relationships/chart" Target="../charts/chart83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1.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748.xml"/><Relationship Id="rId6" Type="http://schemas.openxmlformats.org/officeDocument/2006/relationships/chart" Target="../charts/chart83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2.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749.xml"/><Relationship Id="rId6" Type="http://schemas.openxmlformats.org/officeDocument/2006/relationships/chart" Target="../charts/chart83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3.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750.xml"/><Relationship Id="rId6" Type="http://schemas.openxmlformats.org/officeDocument/2006/relationships/chart" Target="../charts/chart83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4.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751.xml"/><Relationship Id="rId6" Type="http://schemas.openxmlformats.org/officeDocument/2006/relationships/chart" Target="../charts/chart83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5.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752.xml"/><Relationship Id="rId6" Type="http://schemas.openxmlformats.org/officeDocument/2006/relationships/chart" Target="../charts/chart83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6.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753.xml"/><Relationship Id="rId6" Type="http://schemas.openxmlformats.org/officeDocument/2006/relationships/chart" Target="../charts/chart83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7.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754.xml"/><Relationship Id="rId6" Type="http://schemas.openxmlformats.org/officeDocument/2006/relationships/chart" Target="../charts/chart84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8.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755.xml"/><Relationship Id="rId6" Type="http://schemas.openxmlformats.org/officeDocument/2006/relationships/chart" Target="../charts/chart84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9.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756.xml"/><Relationship Id="rId6" Type="http://schemas.openxmlformats.org/officeDocument/2006/relationships/chart" Target="../charts/chart84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8" Type="http://schemas.openxmlformats.org/officeDocument/2006/relationships/chart" Target="../charts/chart207.xml"/><Relationship Id="rId3" Type="http://schemas.openxmlformats.org/officeDocument/2006/relationships/oleObject" Target="../embeddings/oleObject27.bin"/><Relationship Id="rId7" Type="http://schemas.openxmlformats.org/officeDocument/2006/relationships/chart" Target="../charts/chart206.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757.xml"/><Relationship Id="rId6" Type="http://schemas.openxmlformats.org/officeDocument/2006/relationships/chart" Target="../charts/chart84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1.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758.xml"/><Relationship Id="rId6" Type="http://schemas.openxmlformats.org/officeDocument/2006/relationships/chart" Target="../charts/chart84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2.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759.xml"/><Relationship Id="rId6" Type="http://schemas.openxmlformats.org/officeDocument/2006/relationships/chart" Target="../charts/chart84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3.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760.xml"/><Relationship Id="rId6" Type="http://schemas.openxmlformats.org/officeDocument/2006/relationships/chart" Target="../charts/chart84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4.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761.xml"/><Relationship Id="rId6" Type="http://schemas.openxmlformats.org/officeDocument/2006/relationships/chart" Target="../charts/chart84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5.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762.xml"/><Relationship Id="rId6" Type="http://schemas.openxmlformats.org/officeDocument/2006/relationships/chart" Target="../charts/chart84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6.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763.xml"/><Relationship Id="rId6" Type="http://schemas.openxmlformats.org/officeDocument/2006/relationships/chart" Target="../charts/chart8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7.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764.xml"/><Relationship Id="rId6" Type="http://schemas.openxmlformats.org/officeDocument/2006/relationships/chart" Target="../charts/chart8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8.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765.xml"/><Relationship Id="rId6" Type="http://schemas.openxmlformats.org/officeDocument/2006/relationships/chart" Target="../charts/chart8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9.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766.xml"/><Relationship Id="rId6" Type="http://schemas.openxmlformats.org/officeDocument/2006/relationships/chart" Target="../charts/chart8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8" Type="http://schemas.openxmlformats.org/officeDocument/2006/relationships/chart" Target="../charts/chart211.xml"/><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767.xml"/><Relationship Id="rId6" Type="http://schemas.openxmlformats.org/officeDocument/2006/relationships/chart" Target="../charts/chart8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1.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768.xml"/><Relationship Id="rId6" Type="http://schemas.openxmlformats.org/officeDocument/2006/relationships/chart" Target="../charts/chart8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769.xml"/><Relationship Id="rId6" Type="http://schemas.openxmlformats.org/officeDocument/2006/relationships/chart" Target="../charts/chart8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770.xml"/><Relationship Id="rId6" Type="http://schemas.openxmlformats.org/officeDocument/2006/relationships/chart" Target="../charts/chart8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771.xml"/><Relationship Id="rId6" Type="http://schemas.openxmlformats.org/officeDocument/2006/relationships/chart" Target="../charts/chart8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772.xml"/><Relationship Id="rId6" Type="http://schemas.openxmlformats.org/officeDocument/2006/relationships/chart" Target="../charts/chart8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773.xml"/><Relationship Id="rId6" Type="http://schemas.openxmlformats.org/officeDocument/2006/relationships/chart" Target="../charts/chart8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774.xml"/><Relationship Id="rId6" Type="http://schemas.openxmlformats.org/officeDocument/2006/relationships/chart" Target="../charts/chart8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775.xml"/><Relationship Id="rId6" Type="http://schemas.openxmlformats.org/officeDocument/2006/relationships/chart" Target="../charts/chart8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776.xml"/><Relationship Id="rId6" Type="http://schemas.openxmlformats.org/officeDocument/2006/relationships/chart" Target="../charts/chart8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4.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777.xml"/><Relationship Id="rId6" Type="http://schemas.openxmlformats.org/officeDocument/2006/relationships/chart" Target="../charts/chart8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778.xml"/><Relationship Id="rId6" Type="http://schemas.openxmlformats.org/officeDocument/2006/relationships/chart" Target="../charts/chart8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779.xml"/><Relationship Id="rId6" Type="http://schemas.openxmlformats.org/officeDocument/2006/relationships/chart" Target="../charts/chart8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780.xml"/><Relationship Id="rId6" Type="http://schemas.openxmlformats.org/officeDocument/2006/relationships/chart" Target="../charts/chart8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781.xml"/><Relationship Id="rId6" Type="http://schemas.openxmlformats.org/officeDocument/2006/relationships/chart" Target="../charts/chart8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782.xml"/><Relationship Id="rId6" Type="http://schemas.openxmlformats.org/officeDocument/2006/relationships/chart" Target="../charts/chart8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783.xml"/><Relationship Id="rId6" Type="http://schemas.openxmlformats.org/officeDocument/2006/relationships/chart" Target="../charts/chart8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784.xml"/><Relationship Id="rId6" Type="http://schemas.openxmlformats.org/officeDocument/2006/relationships/chart" Target="../charts/chart8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785.xml"/><Relationship Id="rId6" Type="http://schemas.openxmlformats.org/officeDocument/2006/relationships/chart" Target="../charts/chart8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786.xml"/><Relationship Id="rId6" Type="http://schemas.openxmlformats.org/officeDocument/2006/relationships/chart" Target="../charts/chart8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8" Type="http://schemas.openxmlformats.org/officeDocument/2006/relationships/chart" Target="../charts/chart218.xml"/><Relationship Id="rId3" Type="http://schemas.openxmlformats.org/officeDocument/2006/relationships/oleObject" Target="../embeddings/oleObject27.bin"/><Relationship Id="rId7" Type="http://schemas.openxmlformats.org/officeDocument/2006/relationships/chart" Target="../charts/chart21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16.xml"/><Relationship Id="rId5" Type="http://schemas.openxmlformats.org/officeDocument/2006/relationships/chart" Target="../charts/chart215.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787.xml"/><Relationship Id="rId6" Type="http://schemas.openxmlformats.org/officeDocument/2006/relationships/chart" Target="../charts/chart8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788.xml"/><Relationship Id="rId6" Type="http://schemas.openxmlformats.org/officeDocument/2006/relationships/chart" Target="../charts/chart8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789.xml"/><Relationship Id="rId6" Type="http://schemas.openxmlformats.org/officeDocument/2006/relationships/chart" Target="../charts/chart8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8" Type="http://schemas.openxmlformats.org/officeDocument/2006/relationships/chart" Target="../charts/chart222.xml"/><Relationship Id="rId3" Type="http://schemas.openxmlformats.org/officeDocument/2006/relationships/oleObject" Target="../embeddings/oleObject27.bin"/><Relationship Id="rId7" Type="http://schemas.openxmlformats.org/officeDocument/2006/relationships/chart" Target="../charts/chart22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20.xml"/><Relationship Id="rId5" Type="http://schemas.openxmlformats.org/officeDocument/2006/relationships/chart" Target="../charts/chart21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8" Type="http://schemas.openxmlformats.org/officeDocument/2006/relationships/chart" Target="../charts/chart229.xml"/><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8" Type="http://schemas.openxmlformats.org/officeDocument/2006/relationships/chart" Target="../charts/chart233.xml"/><Relationship Id="rId3" Type="http://schemas.openxmlformats.org/officeDocument/2006/relationships/oleObject" Target="../embeddings/oleObject27.bin"/><Relationship Id="rId7" Type="http://schemas.openxmlformats.org/officeDocument/2006/relationships/chart" Target="../charts/chart232.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1.xml"/><Relationship Id="rId5" Type="http://schemas.openxmlformats.org/officeDocument/2006/relationships/chart" Target="../charts/chart23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35.xml"/><Relationship Id="rId5" Type="http://schemas.openxmlformats.org/officeDocument/2006/relationships/chart" Target="../charts/chart234.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8" Type="http://schemas.openxmlformats.org/officeDocument/2006/relationships/chart" Target="../charts/chart240.xml"/><Relationship Id="rId3" Type="http://schemas.openxmlformats.org/officeDocument/2006/relationships/oleObject" Target="../embeddings/oleObject27.bin"/><Relationship Id="rId7" Type="http://schemas.openxmlformats.org/officeDocument/2006/relationships/chart" Target="../charts/chart239.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38.xml"/><Relationship Id="rId5" Type="http://schemas.openxmlformats.org/officeDocument/2006/relationships/chart" Target="../charts/chart237.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8" Type="http://schemas.openxmlformats.org/officeDocument/2006/relationships/chart" Target="../charts/chart244.xml"/><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7.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46.xml"/><Relationship Id="rId5" Type="http://schemas.openxmlformats.org/officeDocument/2006/relationships/chart" Target="../charts/chart245.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8" Type="http://schemas.openxmlformats.org/officeDocument/2006/relationships/chart" Target="../charts/chart251.xml"/><Relationship Id="rId3" Type="http://schemas.openxmlformats.org/officeDocument/2006/relationships/oleObject" Target="../embeddings/oleObject27.bin"/><Relationship Id="rId7" Type="http://schemas.openxmlformats.org/officeDocument/2006/relationships/chart" Target="../charts/chart250.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49.xml"/><Relationship Id="rId5" Type="http://schemas.openxmlformats.org/officeDocument/2006/relationships/chart" Target="../charts/chart248.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8" Type="http://schemas.openxmlformats.org/officeDocument/2006/relationships/chart" Target="../charts/chart255.xml"/><Relationship Id="rId3" Type="http://schemas.openxmlformats.org/officeDocument/2006/relationships/oleObject" Target="../embeddings/oleObject27.bin"/><Relationship Id="rId7" Type="http://schemas.openxmlformats.org/officeDocument/2006/relationships/chart" Target="../charts/chart254.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3.xml"/><Relationship Id="rId5" Type="http://schemas.openxmlformats.org/officeDocument/2006/relationships/chart" Target="../charts/chart252.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8" Type="http://schemas.openxmlformats.org/officeDocument/2006/relationships/chart" Target="../charts/chart262.xml"/><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8" Type="http://schemas.openxmlformats.org/officeDocument/2006/relationships/chart" Target="../charts/chart266.xml"/><Relationship Id="rId3" Type="http://schemas.openxmlformats.org/officeDocument/2006/relationships/oleObject" Target="../embeddings/oleObject27.bin"/><Relationship Id="rId7" Type="http://schemas.openxmlformats.org/officeDocument/2006/relationships/chart" Target="../charts/chart265.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4.xml"/><Relationship Id="rId5" Type="http://schemas.openxmlformats.org/officeDocument/2006/relationships/chart" Target="../charts/chart26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9.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8.xml"/><Relationship Id="rId5" Type="http://schemas.openxmlformats.org/officeDocument/2006/relationships/chart" Target="../charts/chart267.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270.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271.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272.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273.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274.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275.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276.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277.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27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47714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748565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49763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39330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737330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8395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51927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64174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11400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820195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65891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7457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9449808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64420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022364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960983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201971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915294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731683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1848032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82665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674893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5376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187881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629941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6234879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460302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138741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94396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17455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415695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063354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263874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16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9791246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127572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463079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126008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71702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455062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755180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254308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661899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36075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0578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1367157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57311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56942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04489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634497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904568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1453760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828599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08516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511882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7921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6217677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208205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495553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324962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87010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053286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392938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346301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497782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248518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6424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3043270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953332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342592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743066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158834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990233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919771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06257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287784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271448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3916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0211126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3410603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269497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349165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294844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179311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112515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2405461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00133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087101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86205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5475955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042846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628163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190983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1435026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092757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336939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850975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833743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275961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050874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1444392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668331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5498575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53687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743327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359021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985254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849445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0403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9699356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41862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870140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5558024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659723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450160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5476574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497088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05636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749204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182656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756589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54079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6412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8497073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996694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022959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007221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442901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809308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157616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769074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256143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2247725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227172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2197246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6829362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2981130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891445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358439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28883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583833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4496483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61867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5259297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98970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1364748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222952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703687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417320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02283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3826270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4065683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519459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7949372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807176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32288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3655220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438513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617421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866442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799765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140445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920080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02177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32550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19540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48622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2658205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346519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048745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370006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043518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8663271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1171532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773739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8024230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5700924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57615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9692590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200690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862380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1689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997248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080228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267283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426558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2743781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482351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73854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98689094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1526586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870899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701701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031616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96581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157286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699003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0048155"/>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1823881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47271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5742878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910403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780312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709926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667486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4328017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858517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543042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9160122"/>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081485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91843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2614306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485312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07880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314115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4366731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7659750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360977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938847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029198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154902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4584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905794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5582483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963872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513869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0768118"/>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761146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401096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896354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5721622"/>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2482039"/>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46372528"/>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38636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2117649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9459594"/>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10252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776721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631726"/>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0791866"/>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283739"/>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702822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731187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1305639"/>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27682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5896565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397876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492055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064380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770718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3557355"/>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947266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350994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722897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581437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32108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82505702"/>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519914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60180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305807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570904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0831582"/>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160522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397950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15131689"/>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355279"/>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30961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37750945"/>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327098"/>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73731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825993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0008940"/>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13588968"/>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8768981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3156114"/>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7476360"/>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121101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877287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8990733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755246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1619377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33458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0795261"/>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7582995"/>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23237927"/>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822256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7611371"/>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8008967"/>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7799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4119065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7829570"/>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9871774"/>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582255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69535438"/>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40334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775699"/>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3615913"/>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1733301"/>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332496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30852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7715577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107431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675836"/>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489973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836639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607727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7963210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394871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854023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476659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711884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66018311"/>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445655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716998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012836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11997521"/>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967252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51867733"/>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9653522"/>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8859417"/>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05836071"/>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511157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2149457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948146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1770051"/>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93949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877923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87060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454760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178513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4811077"/>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8999263"/>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84237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128130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87219902"/>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522953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994465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6453004"/>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1202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5531615"/>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44030"/>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0950408"/>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427447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4078015"/>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30581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63006724"/>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4359588"/>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780096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758359"/>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456566"/>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8421412"/>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7826433"/>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713317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771461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5290687"/>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69391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698181964"/>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3882902"/>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358835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9303216"/>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2739662"/>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33249616"/>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2328094"/>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269261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5462724"/>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442603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42906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1562004"/>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4623427"/>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2910365"/>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0721280"/>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653575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483397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7743053"/>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8125407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5893035"/>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4708278"/>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92497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234565414"/>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652667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675170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326171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9627640"/>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0487712"/>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3425823"/>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4565587"/>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374339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1889347"/>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6521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28511022"/>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965159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6658328"/>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7426102"/>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48025711"/>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9664893"/>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5013487"/>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359726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481401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43317972"/>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72858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5281399"/>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451914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3255037"/>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72544800"/>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866606"/>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6815480"/>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639906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136138"/>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20754"/>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3128468"/>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52927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58626365"/>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7747049"/>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8921025"/>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5439612"/>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175911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9030417"/>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23872230"/>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819823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8772733"/>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048376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56881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26115440"/>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199433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2040846"/>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6483307"/>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6312890"/>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3864888"/>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2397450"/>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070296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5702257"/>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51753660"/>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87055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68163489"/>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1988170"/>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64434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355490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4885020"/>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875710"/>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8593010"/>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6754268"/>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8618431"/>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860540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2265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990459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71198530"/>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5618407"/>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5026496"/>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1399174"/>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938245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8687788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4986976"/>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7364183"/>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1506778"/>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9537230"/>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94449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614592967"/>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675593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7328969"/>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5678702"/>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5669428"/>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8087237"/>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3524097"/>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96631393"/>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5371835"/>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5933942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09496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89204656"/>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538176"/>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6053641"/>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798439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7410172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6142389"/>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5271889"/>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8836929"/>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2867788"/>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9142884"/>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17241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41081763"/>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931686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2038668"/>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6972007"/>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20497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27526381"/>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37339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1602503"/>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419928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2508741"/>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425383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37918980"/>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3903672"/>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7971407"/>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595906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59149512"/>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6104069"/>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0221051"/>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63550494"/>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013742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5783351"/>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76694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08765318"/>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08548"/>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242604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694827"/>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4761387"/>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428133"/>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160128"/>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247377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5814230"/>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1836426"/>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92708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3333653"/>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8750308"/>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7549874"/>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8358153"/>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46437205"/>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080242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828453"/>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873646"/>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9193576"/>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8041139"/>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95013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81822146"/>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97512203"/>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3698754"/>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9216552"/>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0039713"/>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947069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1895237"/>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2955243"/>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2156185"/>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3576318"/>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64445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75617691"/>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2711426"/>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095235"/>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3547620"/>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2949938"/>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161785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5560161"/>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9227419"/>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405987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1705570"/>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23749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84144163"/>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7970492"/>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1963626"/>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0482368"/>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1069303"/>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7981734"/>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3554934"/>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106921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296901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25291721"/>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5981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9853569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88486858"/>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4324177"/>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31866776"/>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76713773"/>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6582176"/>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1152679"/>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6252778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0253156"/>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6813114"/>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5736364"/>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360481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04742727"/>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3646533"/>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79626"/>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17559475"/>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43363287"/>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4722287"/>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5812012"/>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5052593"/>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4619094"/>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6850506"/>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506064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22092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7816479"/>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3841300"/>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01061939"/>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9068471"/>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842166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401672"/>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631206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307374"/>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2504779"/>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258618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76634521"/>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0195983"/>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472616"/>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17737478"/>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07019842"/>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68041672"/>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81052583"/>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947679"/>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9845515"/>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7924320"/>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797293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43822239"/>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306057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00837702"/>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2697379"/>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74748708"/>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19270857"/>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3678773"/>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29143245"/>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77700887"/>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45938381"/>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972025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59068689"/>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0911598"/>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7832056"/>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348044"/>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8833567"/>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36598354"/>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21133569"/>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09887841"/>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63987589"/>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4362286"/>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048127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12691863"/>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60632559"/>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14560028"/>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4167391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85723182"/>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83010982"/>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34763183"/>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921575"/>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8683381"/>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7459829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013413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17818228"/>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63422081"/>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52500968"/>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73468395"/>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46187109"/>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97685686"/>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79224533"/>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6510415"/>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4574350"/>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32020884"/>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553252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12087306"/>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40181487"/>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0747263"/>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40711044"/>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57376365"/>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5722986"/>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39690605"/>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39379809"/>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89036559"/>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70461135"/>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516473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72538024"/>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04343086"/>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9279682"/>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0064232"/>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53651077"/>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7835702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0868215"/>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6392190"/>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4765189"/>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6340877"/>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45814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80408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30601954"/>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65649037"/>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873475"/>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12627010"/>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82501124"/>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62141689"/>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25366059"/>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2671625"/>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592163"/>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132960"/>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14762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06543846"/>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2905693"/>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5446381"/>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3354416"/>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92991109"/>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7690798"/>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4907421"/>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71544106"/>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38292932"/>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21931970"/>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792225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584613357"/>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6725281"/>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3992360"/>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2061171"/>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7674136"/>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444246"/>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9575410"/>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1183279"/>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1771623"/>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659050"/>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88064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53069735"/>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6818850"/>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21639961"/>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62411097"/>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82715877"/>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85841495"/>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7145790"/>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39055"/>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9139502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68178055"/>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207378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11343270"/>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1283488"/>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4169648"/>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75094181"/>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2684474"/>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6957682"/>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36733030"/>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6504130"/>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5962475"/>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97330391"/>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751011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95428213"/>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959010"/>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76949019"/>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9918730"/>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9092347"/>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3676346"/>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9073539"/>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33690935"/>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5960493"/>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99187328"/>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55913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68560844"/>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02084952"/>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09002036"/>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928579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492667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4472079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58858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760136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94892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645578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748915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189032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382739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571653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488507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590820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902475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71590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50923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42787647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71049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813365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78429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718866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69194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05143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695560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13701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80488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